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diagrams/data2.xml" ContentType="application/vnd.openxmlformats-officedocument.drawingml.diagramData+xml"/>
  <Override PartName="/ppt/diagrams/data3.xml" ContentType="application/vnd.openxmlformats-officedocument.drawingml.diagramData+xml"/>
  <Override PartName="/ppt/diagrams/data1.xml" ContentType="application/vnd.openxmlformats-officedocument.drawingml.diagramData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diagrams/drawing1.xml" ContentType="application/vnd.ms-office.drawingml.diagramDrawing+xml"/>
  <Override PartName="/ppt/diagrams/quickStyle1.xml" ContentType="application/vnd.openxmlformats-officedocument.drawingml.diagramStyle+xml"/>
  <Override PartName="/ppt/diagrams/layout1.xml" ContentType="application/vnd.openxmlformats-officedocument.drawingml.diagramLayout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authors.xml" ContentType="application/vnd.ms-powerpoint.authors+xml"/>
  <Override PartName="/ppt/diagrams/colors1.xml" ContentType="application/vnd.openxmlformats-officedocument.drawingml.diagramCol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ppt/revisionInfo.xml" ContentType="application/vnd.ms-powerpoint.revisioninfo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2"/>
  </p:notesMasterIdLst>
  <p:sldIdLst>
    <p:sldId id="2147474005" r:id="rId2"/>
    <p:sldId id="2147474008" r:id="rId3"/>
    <p:sldId id="2147474107" r:id="rId4"/>
    <p:sldId id="2147474121" r:id="rId5"/>
    <p:sldId id="2147474112" r:id="rId6"/>
    <p:sldId id="2147474116" r:id="rId7"/>
    <p:sldId id="2147474117" r:id="rId8"/>
    <p:sldId id="2147474109" r:id="rId9"/>
    <p:sldId id="2147474118" r:id="rId10"/>
    <p:sldId id="2147474000" r:id="rId11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F86BF12-5B00-79C8-244D-D483B561CB63}" name="Vincent Prins" initials="VP" userId="S::vincent.prins@highberg.com::1ba65e48-f665-4a7d-93ea-38a9d1d1bf78" providerId="AD"/>
  <p188:author id="{BB180CEB-032F-7D33-65E1-F02B6E2225F0}" name="Anne van Esch" initials="" userId="S::anne.vanesch@highberg.com::914483a8-56e5-4059-be76-49a1f2d608a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6821D79-A911-9C44-87E7-DAD34830FD51}" v="127" dt="2024-05-15T07:51:25.77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60"/>
    <p:restoredTop sz="79048"/>
  </p:normalViewPr>
  <p:slideViewPr>
    <p:cSldViewPr snapToGrid="0">
      <p:cViewPr varScale="1">
        <p:scale>
          <a:sx n="53" d="100"/>
          <a:sy n="53" d="100"/>
        </p:scale>
        <p:origin x="1136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18" Type="http://schemas.microsoft.com/office/2018/10/relationships/authors" Target="authors.xml"/><Relationship Id="rId3" Type="http://schemas.openxmlformats.org/officeDocument/2006/relationships/slide" Target="slides/slide2.xml"/><Relationship Id="rId21" Type="http://schemas.openxmlformats.org/officeDocument/2006/relationships/customXml" Target="../customXml/item3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20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customXml" Target="../customXml/item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7C2BF93-9640-2C4F-A9DE-01CCDBE8518C}" type="doc">
      <dgm:prSet loTypeId="urn:microsoft.com/office/officeart/2005/8/layout/chart3" loCatId="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nl-NL"/>
        </a:p>
      </dgm:t>
    </dgm:pt>
    <dgm:pt modelId="{A108E878-BF55-0545-98F6-58B395615385}">
      <dgm:prSet phldrT="[Tekst]"/>
      <dgm:spPr>
        <a:solidFill>
          <a:schemeClr val="accent5"/>
        </a:solidFill>
      </dgm:spPr>
      <dgm:t>
        <a:bodyPr/>
        <a:lstStyle/>
        <a:p>
          <a:r>
            <a:rPr lang="nl-NL" b="0" cap="none" spc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ENVIRONMENT</a:t>
          </a:r>
        </a:p>
      </dgm:t>
    </dgm:pt>
    <dgm:pt modelId="{9405D061-4352-8C48-A048-221254DAE6B0}" type="parTrans" cxnId="{FB945F34-6CCB-0C44-A08B-B94240BEEA00}">
      <dgm:prSet/>
      <dgm:spPr/>
      <dgm:t>
        <a:bodyPr/>
        <a:lstStyle/>
        <a:p>
          <a:endParaRPr lang="nl-NL" b="0" cap="none" spc="0" dirty="0">
            <a:ln w="0"/>
            <a:solidFill>
              <a:schemeClr val="bg1"/>
            </a:solidFill>
            <a:effectLst>
              <a:outerShdw blurRad="38100" dist="19050" dir="2700000" algn="tl" rotWithShape="0">
                <a:schemeClr val="dk1">
                  <a:alpha val="40000"/>
                </a:schemeClr>
              </a:outerShdw>
            </a:effectLst>
          </a:endParaRPr>
        </a:p>
      </dgm:t>
    </dgm:pt>
    <dgm:pt modelId="{28AD9882-533E-764F-9DD3-A638A37E2B9B}" type="sibTrans" cxnId="{FB945F34-6CCB-0C44-A08B-B94240BEEA00}">
      <dgm:prSet/>
      <dgm:spPr/>
      <dgm:t>
        <a:bodyPr/>
        <a:lstStyle/>
        <a:p>
          <a:endParaRPr lang="nl-NL" b="0" cap="none" spc="0" dirty="0">
            <a:ln w="0"/>
            <a:solidFill>
              <a:schemeClr val="bg1"/>
            </a:solidFill>
            <a:effectLst>
              <a:outerShdw blurRad="38100" dist="19050" dir="2700000" algn="tl" rotWithShape="0">
                <a:schemeClr val="dk1">
                  <a:alpha val="40000"/>
                </a:schemeClr>
              </a:outerShdw>
            </a:effectLst>
          </a:endParaRPr>
        </a:p>
      </dgm:t>
    </dgm:pt>
    <dgm:pt modelId="{0C26BF71-7F0C-3C47-832F-F8D8471AA8F1}">
      <dgm:prSet phldrT="[Tekst]"/>
      <dgm:spPr>
        <a:solidFill>
          <a:schemeClr val="accent6"/>
        </a:solidFill>
      </dgm:spPr>
      <dgm:t>
        <a:bodyPr/>
        <a:lstStyle/>
        <a:p>
          <a:r>
            <a:rPr lang="nl-NL" b="0" cap="none" spc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SOCIAL</a:t>
          </a:r>
        </a:p>
      </dgm:t>
    </dgm:pt>
    <dgm:pt modelId="{0527500A-4859-3149-A1D2-4106221C394D}" type="parTrans" cxnId="{81FAB9E3-1B47-074B-967B-269924B02F6F}">
      <dgm:prSet/>
      <dgm:spPr/>
      <dgm:t>
        <a:bodyPr/>
        <a:lstStyle/>
        <a:p>
          <a:endParaRPr lang="nl-NL" b="0" cap="none" spc="0" dirty="0">
            <a:ln w="0"/>
            <a:solidFill>
              <a:schemeClr val="bg1"/>
            </a:solidFill>
            <a:effectLst>
              <a:outerShdw blurRad="38100" dist="19050" dir="2700000" algn="tl" rotWithShape="0">
                <a:schemeClr val="dk1">
                  <a:alpha val="40000"/>
                </a:schemeClr>
              </a:outerShdw>
            </a:effectLst>
          </a:endParaRPr>
        </a:p>
      </dgm:t>
    </dgm:pt>
    <dgm:pt modelId="{1E42B20D-1B4C-674B-ACEF-7ED34795EA0D}" type="sibTrans" cxnId="{81FAB9E3-1B47-074B-967B-269924B02F6F}">
      <dgm:prSet/>
      <dgm:spPr/>
      <dgm:t>
        <a:bodyPr/>
        <a:lstStyle/>
        <a:p>
          <a:endParaRPr lang="nl-NL" b="0" cap="none" spc="0" dirty="0">
            <a:ln w="0"/>
            <a:solidFill>
              <a:schemeClr val="bg1"/>
            </a:solidFill>
            <a:effectLst>
              <a:outerShdw blurRad="38100" dist="19050" dir="2700000" algn="tl" rotWithShape="0">
                <a:schemeClr val="dk1">
                  <a:alpha val="40000"/>
                </a:schemeClr>
              </a:outerShdw>
            </a:effectLst>
          </a:endParaRPr>
        </a:p>
      </dgm:t>
    </dgm:pt>
    <dgm:pt modelId="{7CE1F9C0-54AA-FA47-BC31-6453538306D5}">
      <dgm:prSet phldrT="[Tekst]"/>
      <dgm:spPr>
        <a:solidFill>
          <a:schemeClr val="accent2"/>
        </a:solidFill>
      </dgm:spPr>
      <dgm:t>
        <a:bodyPr/>
        <a:lstStyle/>
        <a:p>
          <a:r>
            <a:rPr lang="nl-NL" b="0" cap="none" spc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GOVERNANCE</a:t>
          </a:r>
        </a:p>
      </dgm:t>
    </dgm:pt>
    <dgm:pt modelId="{45797607-719C-4841-BBF4-94AECD9FBFE5}" type="parTrans" cxnId="{30E71AEB-C687-7D40-A5DF-2B9F14454A61}">
      <dgm:prSet/>
      <dgm:spPr/>
      <dgm:t>
        <a:bodyPr/>
        <a:lstStyle/>
        <a:p>
          <a:endParaRPr lang="nl-NL" b="0" cap="none" spc="0" dirty="0">
            <a:ln w="0"/>
            <a:solidFill>
              <a:schemeClr val="bg1"/>
            </a:solidFill>
            <a:effectLst>
              <a:outerShdw blurRad="38100" dist="19050" dir="2700000" algn="tl" rotWithShape="0">
                <a:schemeClr val="dk1">
                  <a:alpha val="40000"/>
                </a:schemeClr>
              </a:outerShdw>
            </a:effectLst>
          </a:endParaRPr>
        </a:p>
      </dgm:t>
    </dgm:pt>
    <dgm:pt modelId="{F94B92C7-EF25-7F4A-8B9C-37934E39782B}" type="sibTrans" cxnId="{30E71AEB-C687-7D40-A5DF-2B9F14454A61}">
      <dgm:prSet/>
      <dgm:spPr/>
      <dgm:t>
        <a:bodyPr/>
        <a:lstStyle/>
        <a:p>
          <a:endParaRPr lang="nl-NL" b="0" cap="none" spc="0" dirty="0">
            <a:ln w="0"/>
            <a:solidFill>
              <a:schemeClr val="bg1"/>
            </a:solidFill>
            <a:effectLst>
              <a:outerShdw blurRad="38100" dist="19050" dir="2700000" algn="tl" rotWithShape="0">
                <a:schemeClr val="dk1">
                  <a:alpha val="40000"/>
                </a:schemeClr>
              </a:outerShdw>
            </a:effectLst>
          </a:endParaRPr>
        </a:p>
      </dgm:t>
    </dgm:pt>
    <dgm:pt modelId="{E56E9AA8-EE39-B242-B527-5E4AC5F588B9}" type="pres">
      <dgm:prSet presAssocID="{F7C2BF93-9640-2C4F-A9DE-01CCDBE8518C}" presName="compositeShape" presStyleCnt="0">
        <dgm:presLayoutVars>
          <dgm:chMax val="7"/>
          <dgm:dir/>
          <dgm:resizeHandles val="exact"/>
        </dgm:presLayoutVars>
      </dgm:prSet>
      <dgm:spPr/>
    </dgm:pt>
    <dgm:pt modelId="{EE762A85-A072-504C-9783-88C93BFCE045}" type="pres">
      <dgm:prSet presAssocID="{F7C2BF93-9640-2C4F-A9DE-01CCDBE8518C}" presName="wedge1" presStyleLbl="node1" presStyleIdx="0" presStyleCnt="3" custLinFactNeighborX="-5090" custLinFactNeighborY="2951"/>
      <dgm:spPr/>
    </dgm:pt>
    <dgm:pt modelId="{63471A1E-2385-E644-8541-257D4736A7C5}" type="pres">
      <dgm:prSet presAssocID="{F7C2BF93-9640-2C4F-A9DE-01CCDBE8518C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F05F5FCF-DFEE-1D43-B5FC-2A9EB2537A32}" type="pres">
      <dgm:prSet presAssocID="{F7C2BF93-9640-2C4F-A9DE-01CCDBE8518C}" presName="wedge2" presStyleLbl="node1" presStyleIdx="1" presStyleCnt="3"/>
      <dgm:spPr/>
    </dgm:pt>
    <dgm:pt modelId="{04D1E5F2-15AF-314F-9230-223169C18355}" type="pres">
      <dgm:prSet presAssocID="{F7C2BF93-9640-2C4F-A9DE-01CCDBE8518C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CE674408-B49C-2E4A-B5FB-0567F25FF884}" type="pres">
      <dgm:prSet presAssocID="{F7C2BF93-9640-2C4F-A9DE-01CCDBE8518C}" presName="wedge3" presStyleLbl="node1" presStyleIdx="2" presStyleCnt="3"/>
      <dgm:spPr/>
    </dgm:pt>
    <dgm:pt modelId="{59164338-9A4A-604D-B5AB-B99524867D7A}" type="pres">
      <dgm:prSet presAssocID="{F7C2BF93-9640-2C4F-A9DE-01CCDBE8518C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C5C75C10-140B-A240-A652-B860506EF11C}" type="presOf" srcId="{7CE1F9C0-54AA-FA47-BC31-6453538306D5}" destId="{CE674408-B49C-2E4A-B5FB-0567F25FF884}" srcOrd="0" destOrd="0" presId="urn:microsoft.com/office/officeart/2005/8/layout/chart3"/>
    <dgm:cxn modelId="{68567F11-D1A7-7244-9385-A4BD84ED815E}" type="presOf" srcId="{7CE1F9C0-54AA-FA47-BC31-6453538306D5}" destId="{59164338-9A4A-604D-B5AB-B99524867D7A}" srcOrd="1" destOrd="0" presId="urn:microsoft.com/office/officeart/2005/8/layout/chart3"/>
    <dgm:cxn modelId="{24B3EE24-E57A-6244-B5F1-8EB8E1E49070}" type="presOf" srcId="{0C26BF71-7F0C-3C47-832F-F8D8471AA8F1}" destId="{F05F5FCF-DFEE-1D43-B5FC-2A9EB2537A32}" srcOrd="0" destOrd="0" presId="urn:microsoft.com/office/officeart/2005/8/layout/chart3"/>
    <dgm:cxn modelId="{FB945F34-6CCB-0C44-A08B-B94240BEEA00}" srcId="{F7C2BF93-9640-2C4F-A9DE-01CCDBE8518C}" destId="{A108E878-BF55-0545-98F6-58B395615385}" srcOrd="0" destOrd="0" parTransId="{9405D061-4352-8C48-A048-221254DAE6B0}" sibTransId="{28AD9882-533E-764F-9DD3-A638A37E2B9B}"/>
    <dgm:cxn modelId="{C8A98963-9787-4F46-8B67-652749F0C203}" type="presOf" srcId="{0C26BF71-7F0C-3C47-832F-F8D8471AA8F1}" destId="{04D1E5F2-15AF-314F-9230-223169C18355}" srcOrd="1" destOrd="0" presId="urn:microsoft.com/office/officeart/2005/8/layout/chart3"/>
    <dgm:cxn modelId="{BCEDA748-E344-8E49-88F0-B524504F7960}" type="presOf" srcId="{A108E878-BF55-0545-98F6-58B395615385}" destId="{63471A1E-2385-E644-8541-257D4736A7C5}" srcOrd="1" destOrd="0" presId="urn:microsoft.com/office/officeart/2005/8/layout/chart3"/>
    <dgm:cxn modelId="{2826E352-C4D0-E049-B824-277C04FBD51F}" type="presOf" srcId="{F7C2BF93-9640-2C4F-A9DE-01CCDBE8518C}" destId="{E56E9AA8-EE39-B242-B527-5E4AC5F588B9}" srcOrd="0" destOrd="0" presId="urn:microsoft.com/office/officeart/2005/8/layout/chart3"/>
    <dgm:cxn modelId="{81FAB9E3-1B47-074B-967B-269924B02F6F}" srcId="{F7C2BF93-9640-2C4F-A9DE-01CCDBE8518C}" destId="{0C26BF71-7F0C-3C47-832F-F8D8471AA8F1}" srcOrd="1" destOrd="0" parTransId="{0527500A-4859-3149-A1D2-4106221C394D}" sibTransId="{1E42B20D-1B4C-674B-ACEF-7ED34795EA0D}"/>
    <dgm:cxn modelId="{716067E9-1ED7-8B48-905A-66E5F186A554}" type="presOf" srcId="{A108E878-BF55-0545-98F6-58B395615385}" destId="{EE762A85-A072-504C-9783-88C93BFCE045}" srcOrd="0" destOrd="0" presId="urn:microsoft.com/office/officeart/2005/8/layout/chart3"/>
    <dgm:cxn modelId="{30E71AEB-C687-7D40-A5DF-2B9F14454A61}" srcId="{F7C2BF93-9640-2C4F-A9DE-01CCDBE8518C}" destId="{7CE1F9C0-54AA-FA47-BC31-6453538306D5}" srcOrd="2" destOrd="0" parTransId="{45797607-719C-4841-BBF4-94AECD9FBFE5}" sibTransId="{F94B92C7-EF25-7F4A-8B9C-37934E39782B}"/>
    <dgm:cxn modelId="{9ACAB700-D5A1-5F4E-9A0B-034FF7D27EDC}" type="presParOf" srcId="{E56E9AA8-EE39-B242-B527-5E4AC5F588B9}" destId="{EE762A85-A072-504C-9783-88C93BFCE045}" srcOrd="0" destOrd="0" presId="urn:microsoft.com/office/officeart/2005/8/layout/chart3"/>
    <dgm:cxn modelId="{30FB254F-17D2-9342-A594-664ACA745FE2}" type="presParOf" srcId="{E56E9AA8-EE39-B242-B527-5E4AC5F588B9}" destId="{63471A1E-2385-E644-8541-257D4736A7C5}" srcOrd="1" destOrd="0" presId="urn:microsoft.com/office/officeart/2005/8/layout/chart3"/>
    <dgm:cxn modelId="{24D560A2-B0AB-0443-B3E0-BAF7D03392D1}" type="presParOf" srcId="{E56E9AA8-EE39-B242-B527-5E4AC5F588B9}" destId="{F05F5FCF-DFEE-1D43-B5FC-2A9EB2537A32}" srcOrd="2" destOrd="0" presId="urn:microsoft.com/office/officeart/2005/8/layout/chart3"/>
    <dgm:cxn modelId="{FA49FC8E-528A-014A-ADA8-DA930360449A}" type="presParOf" srcId="{E56E9AA8-EE39-B242-B527-5E4AC5F588B9}" destId="{04D1E5F2-15AF-314F-9230-223169C18355}" srcOrd="3" destOrd="0" presId="urn:microsoft.com/office/officeart/2005/8/layout/chart3"/>
    <dgm:cxn modelId="{A6B90679-5F0D-184E-A018-AA98108D8B7B}" type="presParOf" srcId="{E56E9AA8-EE39-B242-B527-5E4AC5F588B9}" destId="{CE674408-B49C-2E4A-B5FB-0567F25FF884}" srcOrd="4" destOrd="0" presId="urn:microsoft.com/office/officeart/2005/8/layout/chart3"/>
    <dgm:cxn modelId="{D0F6E072-718B-6947-922C-75BD90177BBC}" type="presParOf" srcId="{E56E9AA8-EE39-B242-B527-5E4AC5F588B9}" destId="{59164338-9A4A-604D-B5AB-B99524867D7A}" srcOrd="5" destOrd="0" presId="urn:microsoft.com/office/officeart/2005/8/layout/char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1DD3054-DCC8-A044-9E8E-D65C49FDBE7F}" type="doc">
      <dgm:prSet loTypeId="urn:microsoft.com/office/officeart/2005/8/layout/venn2" loCatId="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nl-NL"/>
        </a:p>
      </dgm:t>
    </dgm:pt>
    <dgm:pt modelId="{A9064B71-D474-1140-B8A8-6BF7A95E8079}">
      <dgm:prSet phldrT="[Tekst]" custT="1"/>
      <dgm:spPr/>
      <dgm:t>
        <a:bodyPr/>
        <a:lstStyle/>
        <a:p>
          <a:r>
            <a:rPr lang="nl-NL" sz="1200" dirty="0"/>
            <a:t>SUSTAINABLE DIGITAL BUSINESS STRATEGY</a:t>
          </a:r>
        </a:p>
      </dgm:t>
    </dgm:pt>
    <dgm:pt modelId="{8167103A-8D8B-A640-9783-613558C5E829}" type="parTrans" cxnId="{F0481262-FA0A-984C-BE9A-333E0C1D4106}">
      <dgm:prSet/>
      <dgm:spPr/>
      <dgm:t>
        <a:bodyPr/>
        <a:lstStyle/>
        <a:p>
          <a:endParaRPr lang="nl-NL" sz="2000" dirty="0"/>
        </a:p>
      </dgm:t>
    </dgm:pt>
    <dgm:pt modelId="{C3327269-B922-6F4A-AB26-2497EBFA4805}" type="sibTrans" cxnId="{F0481262-FA0A-984C-BE9A-333E0C1D4106}">
      <dgm:prSet/>
      <dgm:spPr/>
      <dgm:t>
        <a:bodyPr/>
        <a:lstStyle/>
        <a:p>
          <a:endParaRPr lang="nl-NL" sz="2000" dirty="0"/>
        </a:p>
      </dgm:t>
    </dgm:pt>
    <dgm:pt modelId="{83CB6FF8-D0B2-C949-94C3-03E6A1A1CCD1}">
      <dgm:prSet phldrT="[Tekst]" custT="1"/>
      <dgm:spPr/>
      <dgm:t>
        <a:bodyPr/>
        <a:lstStyle/>
        <a:p>
          <a:r>
            <a:rPr lang="nl-NL" sz="1200" dirty="0"/>
            <a:t>DIGITAL BUSINESS STRATEGY</a:t>
          </a:r>
        </a:p>
      </dgm:t>
    </dgm:pt>
    <dgm:pt modelId="{08F25505-5133-5B4B-9DFE-EED63EB92E66}" type="parTrans" cxnId="{768407B3-CAAC-8E4C-BF9A-7AF866C1B03F}">
      <dgm:prSet/>
      <dgm:spPr/>
      <dgm:t>
        <a:bodyPr/>
        <a:lstStyle/>
        <a:p>
          <a:endParaRPr lang="nl-NL" sz="2000" dirty="0"/>
        </a:p>
      </dgm:t>
    </dgm:pt>
    <dgm:pt modelId="{70E62E52-0725-0D4A-B166-781599ACAE3F}" type="sibTrans" cxnId="{768407B3-CAAC-8E4C-BF9A-7AF866C1B03F}">
      <dgm:prSet/>
      <dgm:spPr/>
      <dgm:t>
        <a:bodyPr/>
        <a:lstStyle/>
        <a:p>
          <a:endParaRPr lang="nl-NL" sz="2000" dirty="0"/>
        </a:p>
      </dgm:t>
    </dgm:pt>
    <dgm:pt modelId="{AE320E77-B126-0346-81D8-827D30317E3C}">
      <dgm:prSet phldrT="[Tekst]" custT="1"/>
      <dgm:spPr/>
      <dgm:t>
        <a:bodyPr/>
        <a:lstStyle/>
        <a:p>
          <a:r>
            <a:rPr lang="nl-NL" sz="1200" dirty="0"/>
            <a:t>IT STRATEGY</a:t>
          </a:r>
        </a:p>
      </dgm:t>
    </dgm:pt>
    <dgm:pt modelId="{2DFF9C4F-E6E8-4845-834F-3DD3F9E253DC}" type="parTrans" cxnId="{44CB2D2E-A1B0-3A44-BF24-7E4C7EE2DD8A}">
      <dgm:prSet/>
      <dgm:spPr/>
      <dgm:t>
        <a:bodyPr/>
        <a:lstStyle/>
        <a:p>
          <a:endParaRPr lang="nl-NL" sz="2000" dirty="0"/>
        </a:p>
      </dgm:t>
    </dgm:pt>
    <dgm:pt modelId="{60FCF3C8-20D0-7347-BF65-166A82A4DFBC}" type="sibTrans" cxnId="{44CB2D2E-A1B0-3A44-BF24-7E4C7EE2DD8A}">
      <dgm:prSet/>
      <dgm:spPr/>
      <dgm:t>
        <a:bodyPr/>
        <a:lstStyle/>
        <a:p>
          <a:endParaRPr lang="nl-NL" sz="2000" dirty="0"/>
        </a:p>
      </dgm:t>
    </dgm:pt>
    <dgm:pt modelId="{A39042D5-EAF7-164F-8535-4E52EA3EF1FF}">
      <dgm:prSet phldrT="[Tekst]" custT="1"/>
      <dgm:spPr/>
      <dgm:t>
        <a:bodyPr/>
        <a:lstStyle/>
        <a:p>
          <a:r>
            <a:rPr lang="nl-NL" sz="1200" dirty="0"/>
            <a:t>GREEN IT STRATEGY</a:t>
          </a:r>
        </a:p>
      </dgm:t>
    </dgm:pt>
    <dgm:pt modelId="{884CC378-88B4-9C41-A24B-FCC3056E61BC}" type="parTrans" cxnId="{301C89B4-5716-AE4B-83CB-81A35399EBCC}">
      <dgm:prSet/>
      <dgm:spPr/>
      <dgm:t>
        <a:bodyPr/>
        <a:lstStyle/>
        <a:p>
          <a:endParaRPr lang="nl-NL" sz="2000" dirty="0"/>
        </a:p>
      </dgm:t>
    </dgm:pt>
    <dgm:pt modelId="{15A54FD4-3E5B-9C4A-B00C-17890B822FB0}" type="sibTrans" cxnId="{301C89B4-5716-AE4B-83CB-81A35399EBCC}">
      <dgm:prSet/>
      <dgm:spPr/>
      <dgm:t>
        <a:bodyPr/>
        <a:lstStyle/>
        <a:p>
          <a:endParaRPr lang="nl-NL" sz="2000" dirty="0"/>
        </a:p>
      </dgm:t>
    </dgm:pt>
    <dgm:pt modelId="{5A879D5A-ED5F-6641-9319-D455178A6DAB}" type="pres">
      <dgm:prSet presAssocID="{B1DD3054-DCC8-A044-9E8E-D65C49FDBE7F}" presName="Name0" presStyleCnt="0">
        <dgm:presLayoutVars>
          <dgm:chMax val="7"/>
          <dgm:resizeHandles val="exact"/>
        </dgm:presLayoutVars>
      </dgm:prSet>
      <dgm:spPr/>
    </dgm:pt>
    <dgm:pt modelId="{826CE37C-1A79-974A-A99C-5846D099C482}" type="pres">
      <dgm:prSet presAssocID="{B1DD3054-DCC8-A044-9E8E-D65C49FDBE7F}" presName="comp1" presStyleCnt="0"/>
      <dgm:spPr/>
    </dgm:pt>
    <dgm:pt modelId="{CD82F57F-4710-2E47-B82C-60363832894F}" type="pres">
      <dgm:prSet presAssocID="{B1DD3054-DCC8-A044-9E8E-D65C49FDBE7F}" presName="circle1" presStyleLbl="node1" presStyleIdx="0" presStyleCnt="4"/>
      <dgm:spPr/>
    </dgm:pt>
    <dgm:pt modelId="{5E9810B3-853C-C94C-A289-B633DF3BB09B}" type="pres">
      <dgm:prSet presAssocID="{B1DD3054-DCC8-A044-9E8E-D65C49FDBE7F}" presName="c1text" presStyleLbl="node1" presStyleIdx="0" presStyleCnt="4">
        <dgm:presLayoutVars>
          <dgm:bulletEnabled val="1"/>
        </dgm:presLayoutVars>
      </dgm:prSet>
      <dgm:spPr/>
    </dgm:pt>
    <dgm:pt modelId="{1C890EC7-F8C0-6C4B-B179-B10B2CA85936}" type="pres">
      <dgm:prSet presAssocID="{B1DD3054-DCC8-A044-9E8E-D65C49FDBE7F}" presName="comp2" presStyleCnt="0"/>
      <dgm:spPr/>
    </dgm:pt>
    <dgm:pt modelId="{8A971781-F9AB-F44B-8DDA-747D24C888A0}" type="pres">
      <dgm:prSet presAssocID="{B1DD3054-DCC8-A044-9E8E-D65C49FDBE7F}" presName="circle2" presStyleLbl="node1" presStyleIdx="1" presStyleCnt="4"/>
      <dgm:spPr/>
    </dgm:pt>
    <dgm:pt modelId="{612432B9-DEB7-C04A-99B5-2E01A581A836}" type="pres">
      <dgm:prSet presAssocID="{B1DD3054-DCC8-A044-9E8E-D65C49FDBE7F}" presName="c2text" presStyleLbl="node1" presStyleIdx="1" presStyleCnt="4">
        <dgm:presLayoutVars>
          <dgm:bulletEnabled val="1"/>
        </dgm:presLayoutVars>
      </dgm:prSet>
      <dgm:spPr/>
    </dgm:pt>
    <dgm:pt modelId="{57FB9E76-840E-5E4B-84DD-DA45A7253050}" type="pres">
      <dgm:prSet presAssocID="{B1DD3054-DCC8-A044-9E8E-D65C49FDBE7F}" presName="comp3" presStyleCnt="0"/>
      <dgm:spPr/>
    </dgm:pt>
    <dgm:pt modelId="{D390A505-D512-4048-A9DF-9EE1CD4053E9}" type="pres">
      <dgm:prSet presAssocID="{B1DD3054-DCC8-A044-9E8E-D65C49FDBE7F}" presName="circle3" presStyleLbl="node1" presStyleIdx="2" presStyleCnt="4"/>
      <dgm:spPr/>
    </dgm:pt>
    <dgm:pt modelId="{E27D7784-B9AC-104E-86EB-E61BD4740D21}" type="pres">
      <dgm:prSet presAssocID="{B1DD3054-DCC8-A044-9E8E-D65C49FDBE7F}" presName="c3text" presStyleLbl="node1" presStyleIdx="2" presStyleCnt="4">
        <dgm:presLayoutVars>
          <dgm:bulletEnabled val="1"/>
        </dgm:presLayoutVars>
      </dgm:prSet>
      <dgm:spPr/>
    </dgm:pt>
    <dgm:pt modelId="{3413EEBF-5FB5-274D-8DE8-8580053085B1}" type="pres">
      <dgm:prSet presAssocID="{B1DD3054-DCC8-A044-9E8E-D65C49FDBE7F}" presName="comp4" presStyleCnt="0"/>
      <dgm:spPr/>
    </dgm:pt>
    <dgm:pt modelId="{63163B1F-AC18-BF41-A003-B5178A2191F7}" type="pres">
      <dgm:prSet presAssocID="{B1DD3054-DCC8-A044-9E8E-D65C49FDBE7F}" presName="circle4" presStyleLbl="node1" presStyleIdx="3" presStyleCnt="4"/>
      <dgm:spPr/>
    </dgm:pt>
    <dgm:pt modelId="{BB8864E1-28DF-DB4E-A144-EE0F4520E332}" type="pres">
      <dgm:prSet presAssocID="{B1DD3054-DCC8-A044-9E8E-D65C49FDBE7F}" presName="c4text" presStyleLbl="node1" presStyleIdx="3" presStyleCnt="4">
        <dgm:presLayoutVars>
          <dgm:bulletEnabled val="1"/>
        </dgm:presLayoutVars>
      </dgm:prSet>
      <dgm:spPr/>
    </dgm:pt>
  </dgm:ptLst>
  <dgm:cxnLst>
    <dgm:cxn modelId="{63C38D0D-E588-3F44-92D0-F73F2CECBB64}" type="presOf" srcId="{AE320E77-B126-0346-81D8-827D30317E3C}" destId="{D390A505-D512-4048-A9DF-9EE1CD4053E9}" srcOrd="0" destOrd="0" presId="urn:microsoft.com/office/officeart/2005/8/layout/venn2"/>
    <dgm:cxn modelId="{FD217022-2951-804E-86ED-EE90EC3E0312}" type="presOf" srcId="{A9064B71-D474-1140-B8A8-6BF7A95E8079}" destId="{5E9810B3-853C-C94C-A289-B633DF3BB09B}" srcOrd="1" destOrd="0" presId="urn:microsoft.com/office/officeart/2005/8/layout/venn2"/>
    <dgm:cxn modelId="{44CB2D2E-A1B0-3A44-BF24-7E4C7EE2DD8A}" srcId="{B1DD3054-DCC8-A044-9E8E-D65C49FDBE7F}" destId="{AE320E77-B126-0346-81D8-827D30317E3C}" srcOrd="2" destOrd="0" parTransId="{2DFF9C4F-E6E8-4845-834F-3DD3F9E253DC}" sibTransId="{60FCF3C8-20D0-7347-BF65-166A82A4DFBC}"/>
    <dgm:cxn modelId="{88248A3F-C420-F749-9BF3-0DFAB9E4FA03}" type="presOf" srcId="{A39042D5-EAF7-164F-8535-4E52EA3EF1FF}" destId="{BB8864E1-28DF-DB4E-A144-EE0F4520E332}" srcOrd="1" destOrd="0" presId="urn:microsoft.com/office/officeart/2005/8/layout/venn2"/>
    <dgm:cxn modelId="{F0481262-FA0A-984C-BE9A-333E0C1D4106}" srcId="{B1DD3054-DCC8-A044-9E8E-D65C49FDBE7F}" destId="{A9064B71-D474-1140-B8A8-6BF7A95E8079}" srcOrd="0" destOrd="0" parTransId="{8167103A-8D8B-A640-9783-613558C5E829}" sibTransId="{C3327269-B922-6F4A-AB26-2497EBFA4805}"/>
    <dgm:cxn modelId="{70A92671-3A71-2B48-9544-D99B8B777F65}" type="presOf" srcId="{A39042D5-EAF7-164F-8535-4E52EA3EF1FF}" destId="{63163B1F-AC18-BF41-A003-B5178A2191F7}" srcOrd="0" destOrd="0" presId="urn:microsoft.com/office/officeart/2005/8/layout/venn2"/>
    <dgm:cxn modelId="{69B3A272-3C12-E042-9A54-F34767274C84}" type="presOf" srcId="{B1DD3054-DCC8-A044-9E8E-D65C49FDBE7F}" destId="{5A879D5A-ED5F-6641-9319-D455178A6DAB}" srcOrd="0" destOrd="0" presId="urn:microsoft.com/office/officeart/2005/8/layout/venn2"/>
    <dgm:cxn modelId="{4B21E653-DFB5-DE40-B1F7-F776AD82447D}" type="presOf" srcId="{83CB6FF8-D0B2-C949-94C3-03E6A1A1CCD1}" destId="{612432B9-DEB7-C04A-99B5-2E01A581A836}" srcOrd="1" destOrd="0" presId="urn:microsoft.com/office/officeart/2005/8/layout/venn2"/>
    <dgm:cxn modelId="{CEEA358A-CE2D-184F-8D21-5F7CE6D19584}" type="presOf" srcId="{83CB6FF8-D0B2-C949-94C3-03E6A1A1CCD1}" destId="{8A971781-F9AB-F44B-8DDA-747D24C888A0}" srcOrd="0" destOrd="0" presId="urn:microsoft.com/office/officeart/2005/8/layout/venn2"/>
    <dgm:cxn modelId="{768407B3-CAAC-8E4C-BF9A-7AF866C1B03F}" srcId="{B1DD3054-DCC8-A044-9E8E-D65C49FDBE7F}" destId="{83CB6FF8-D0B2-C949-94C3-03E6A1A1CCD1}" srcOrd="1" destOrd="0" parTransId="{08F25505-5133-5B4B-9DFE-EED63EB92E66}" sibTransId="{70E62E52-0725-0D4A-B166-781599ACAE3F}"/>
    <dgm:cxn modelId="{301C89B4-5716-AE4B-83CB-81A35399EBCC}" srcId="{B1DD3054-DCC8-A044-9E8E-D65C49FDBE7F}" destId="{A39042D5-EAF7-164F-8535-4E52EA3EF1FF}" srcOrd="3" destOrd="0" parTransId="{884CC378-88B4-9C41-A24B-FCC3056E61BC}" sibTransId="{15A54FD4-3E5B-9C4A-B00C-17890B822FB0}"/>
    <dgm:cxn modelId="{628B1BC3-219C-5341-8922-1E2E8BE7697B}" type="presOf" srcId="{AE320E77-B126-0346-81D8-827D30317E3C}" destId="{E27D7784-B9AC-104E-86EB-E61BD4740D21}" srcOrd="1" destOrd="0" presId="urn:microsoft.com/office/officeart/2005/8/layout/venn2"/>
    <dgm:cxn modelId="{58273CEF-0F1C-7F48-96BF-B428A3FFA69C}" type="presOf" srcId="{A9064B71-D474-1140-B8A8-6BF7A95E8079}" destId="{CD82F57F-4710-2E47-B82C-60363832894F}" srcOrd="0" destOrd="0" presId="urn:microsoft.com/office/officeart/2005/8/layout/venn2"/>
    <dgm:cxn modelId="{D265F947-A534-FE47-9D2E-C93D2B24BFCA}" type="presParOf" srcId="{5A879D5A-ED5F-6641-9319-D455178A6DAB}" destId="{826CE37C-1A79-974A-A99C-5846D099C482}" srcOrd="0" destOrd="0" presId="urn:microsoft.com/office/officeart/2005/8/layout/venn2"/>
    <dgm:cxn modelId="{403A113A-7273-FB42-A599-37020C891FD7}" type="presParOf" srcId="{826CE37C-1A79-974A-A99C-5846D099C482}" destId="{CD82F57F-4710-2E47-B82C-60363832894F}" srcOrd="0" destOrd="0" presId="urn:microsoft.com/office/officeart/2005/8/layout/venn2"/>
    <dgm:cxn modelId="{D4D111DD-02B0-0848-8050-0E5395B42785}" type="presParOf" srcId="{826CE37C-1A79-974A-A99C-5846D099C482}" destId="{5E9810B3-853C-C94C-A289-B633DF3BB09B}" srcOrd="1" destOrd="0" presId="urn:microsoft.com/office/officeart/2005/8/layout/venn2"/>
    <dgm:cxn modelId="{1A08491B-AFE0-F748-ABEE-DAC2139BADBE}" type="presParOf" srcId="{5A879D5A-ED5F-6641-9319-D455178A6DAB}" destId="{1C890EC7-F8C0-6C4B-B179-B10B2CA85936}" srcOrd="1" destOrd="0" presId="urn:microsoft.com/office/officeart/2005/8/layout/venn2"/>
    <dgm:cxn modelId="{6BCE09DE-3953-B240-B1CF-BD23EA78F400}" type="presParOf" srcId="{1C890EC7-F8C0-6C4B-B179-B10B2CA85936}" destId="{8A971781-F9AB-F44B-8DDA-747D24C888A0}" srcOrd="0" destOrd="0" presId="urn:microsoft.com/office/officeart/2005/8/layout/venn2"/>
    <dgm:cxn modelId="{084EC5EA-8958-264F-B318-035D0E2F248B}" type="presParOf" srcId="{1C890EC7-F8C0-6C4B-B179-B10B2CA85936}" destId="{612432B9-DEB7-C04A-99B5-2E01A581A836}" srcOrd="1" destOrd="0" presId="urn:microsoft.com/office/officeart/2005/8/layout/venn2"/>
    <dgm:cxn modelId="{8EE358DA-2F46-D34B-94F1-2E8AAD13AB37}" type="presParOf" srcId="{5A879D5A-ED5F-6641-9319-D455178A6DAB}" destId="{57FB9E76-840E-5E4B-84DD-DA45A7253050}" srcOrd="2" destOrd="0" presId="urn:microsoft.com/office/officeart/2005/8/layout/venn2"/>
    <dgm:cxn modelId="{EF04B7A1-0E63-C546-AFDB-B34526923D79}" type="presParOf" srcId="{57FB9E76-840E-5E4B-84DD-DA45A7253050}" destId="{D390A505-D512-4048-A9DF-9EE1CD4053E9}" srcOrd="0" destOrd="0" presId="urn:microsoft.com/office/officeart/2005/8/layout/venn2"/>
    <dgm:cxn modelId="{612585D7-B98D-0A4E-B624-4E47F0EE774F}" type="presParOf" srcId="{57FB9E76-840E-5E4B-84DD-DA45A7253050}" destId="{E27D7784-B9AC-104E-86EB-E61BD4740D21}" srcOrd="1" destOrd="0" presId="urn:microsoft.com/office/officeart/2005/8/layout/venn2"/>
    <dgm:cxn modelId="{392C6DF2-303F-2248-B407-57E24D63018D}" type="presParOf" srcId="{5A879D5A-ED5F-6641-9319-D455178A6DAB}" destId="{3413EEBF-5FB5-274D-8DE8-8580053085B1}" srcOrd="3" destOrd="0" presId="urn:microsoft.com/office/officeart/2005/8/layout/venn2"/>
    <dgm:cxn modelId="{8040998D-8C9D-8F4C-948F-06E6E8A072B0}" type="presParOf" srcId="{3413EEBF-5FB5-274D-8DE8-8580053085B1}" destId="{63163B1F-AC18-BF41-A003-B5178A2191F7}" srcOrd="0" destOrd="0" presId="urn:microsoft.com/office/officeart/2005/8/layout/venn2"/>
    <dgm:cxn modelId="{88275202-35F7-DF46-8155-8E5890B68C9D}" type="presParOf" srcId="{3413EEBF-5FB5-274D-8DE8-8580053085B1}" destId="{BB8864E1-28DF-DB4E-A144-EE0F4520E332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884725F-3CC6-BD41-A86B-E2975F701CD0}" type="doc">
      <dgm:prSet loTypeId="urn:microsoft.com/office/officeart/2005/8/layout/cycle2" loCatId="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nl-NL"/>
        </a:p>
      </dgm:t>
    </dgm:pt>
    <dgm:pt modelId="{024698D8-4E0F-394F-A661-552EB3614E90}">
      <dgm:prSet phldrT="[Tekst]" custT="1"/>
      <dgm:spPr/>
      <dgm:t>
        <a:bodyPr/>
        <a:lstStyle/>
        <a:p>
          <a:pPr>
            <a:buFont typeface="+mj-lt"/>
            <a:buAutoNum type="arabicPeriod"/>
          </a:pPr>
          <a:r>
            <a:rPr lang="nl-NL" sz="1200" b="0" i="0" noProof="0" dirty="0"/>
            <a:t>Definieer strategie</a:t>
          </a:r>
          <a:endParaRPr lang="nl-NL" sz="1200" noProof="0" dirty="0"/>
        </a:p>
      </dgm:t>
    </dgm:pt>
    <dgm:pt modelId="{C80D4877-123C-C54C-BCF8-3D95C2DCA637}" type="parTrans" cxnId="{7A9C1DA9-A35C-9843-A700-7364D0AC5EA7}">
      <dgm:prSet/>
      <dgm:spPr/>
      <dgm:t>
        <a:bodyPr/>
        <a:lstStyle/>
        <a:p>
          <a:endParaRPr lang="en-GB" sz="2000" noProof="0"/>
        </a:p>
      </dgm:t>
    </dgm:pt>
    <dgm:pt modelId="{E179F740-75D2-424C-86C5-F68EF7D4798A}" type="sibTrans" cxnId="{7A9C1DA9-A35C-9843-A700-7364D0AC5EA7}">
      <dgm:prSet custT="1"/>
      <dgm:spPr/>
      <dgm:t>
        <a:bodyPr/>
        <a:lstStyle/>
        <a:p>
          <a:endParaRPr lang="en-GB" sz="1000" noProof="0"/>
        </a:p>
      </dgm:t>
    </dgm:pt>
    <dgm:pt modelId="{F0143A2F-679C-EB47-9E88-8E2C6853D7AA}">
      <dgm:prSet phldrT="[Tekst]" custT="1"/>
      <dgm:spPr/>
      <dgm:t>
        <a:bodyPr/>
        <a:lstStyle/>
        <a:p>
          <a:pPr>
            <a:buFont typeface="+mj-lt"/>
            <a:buAutoNum type="arabicPeriod"/>
          </a:pPr>
          <a:r>
            <a:rPr lang="nl-NL" sz="1200" b="0" i="0" noProof="0" dirty="0"/>
            <a:t>Identificeer Green (</a:t>
          </a:r>
          <a:r>
            <a:rPr lang="nl-NL" sz="1200" b="0" i="0" noProof="0" dirty="0" err="1"/>
            <a:t>by</a:t>
          </a:r>
          <a:r>
            <a:rPr lang="nl-NL" sz="1200" b="0" i="0" noProof="0" dirty="0"/>
            <a:t>) IT initiatieven</a:t>
          </a:r>
          <a:endParaRPr lang="nl-NL" sz="1200" noProof="0" dirty="0"/>
        </a:p>
      </dgm:t>
    </dgm:pt>
    <dgm:pt modelId="{5DE2576A-1FE4-4A45-88BF-3AB7C9C2FA2D}" type="parTrans" cxnId="{E6744DD5-A5CB-F348-9A08-FBB879B9FA49}">
      <dgm:prSet/>
      <dgm:spPr/>
      <dgm:t>
        <a:bodyPr/>
        <a:lstStyle/>
        <a:p>
          <a:endParaRPr lang="en-GB" sz="2000" noProof="0"/>
        </a:p>
      </dgm:t>
    </dgm:pt>
    <dgm:pt modelId="{9B1A3C1F-E578-534D-9B29-7D4B5C91EFE5}" type="sibTrans" cxnId="{E6744DD5-A5CB-F348-9A08-FBB879B9FA49}">
      <dgm:prSet custT="1"/>
      <dgm:spPr/>
      <dgm:t>
        <a:bodyPr/>
        <a:lstStyle/>
        <a:p>
          <a:endParaRPr lang="en-GB" sz="1000" noProof="0"/>
        </a:p>
      </dgm:t>
    </dgm:pt>
    <dgm:pt modelId="{39C79508-FA08-424A-804D-9C0CCEA85C6B}">
      <dgm:prSet phldrT="[Tekst]" custT="1"/>
      <dgm:spPr/>
      <dgm:t>
        <a:bodyPr/>
        <a:lstStyle/>
        <a:p>
          <a:r>
            <a:rPr lang="nl-NL" sz="1200" noProof="0" dirty="0"/>
            <a:t>Bepaal gezamenlijke criteria</a:t>
          </a:r>
        </a:p>
      </dgm:t>
    </dgm:pt>
    <dgm:pt modelId="{7FBCDB06-0943-7A40-8743-5B2E31C0CA60}" type="parTrans" cxnId="{FB3C3220-ED18-954D-A1E2-88495048B51E}">
      <dgm:prSet/>
      <dgm:spPr/>
      <dgm:t>
        <a:bodyPr/>
        <a:lstStyle/>
        <a:p>
          <a:endParaRPr lang="en-GB" sz="2000" noProof="0"/>
        </a:p>
      </dgm:t>
    </dgm:pt>
    <dgm:pt modelId="{2A103C25-0306-8241-ABB4-64FD309BCA2A}" type="sibTrans" cxnId="{FB3C3220-ED18-954D-A1E2-88495048B51E}">
      <dgm:prSet custT="1"/>
      <dgm:spPr/>
      <dgm:t>
        <a:bodyPr/>
        <a:lstStyle/>
        <a:p>
          <a:endParaRPr lang="en-GB" sz="1000" noProof="0"/>
        </a:p>
      </dgm:t>
    </dgm:pt>
    <dgm:pt modelId="{B6068B38-D6E2-FF48-AAB8-D49DDCC1576D}">
      <dgm:prSet phldrT="[Tekst]" custT="1"/>
      <dgm:spPr/>
      <dgm:t>
        <a:bodyPr/>
        <a:lstStyle/>
        <a:p>
          <a:r>
            <a:rPr lang="nl-NL" sz="1200" noProof="0" dirty="0"/>
            <a:t>Effectentoets en kosten-batenanalyse</a:t>
          </a:r>
        </a:p>
      </dgm:t>
    </dgm:pt>
    <dgm:pt modelId="{38A68162-9B9B-4244-9CA1-93D771C2A583}" type="parTrans" cxnId="{72BA1B4F-1268-604F-9543-AA9C14839381}">
      <dgm:prSet/>
      <dgm:spPr/>
      <dgm:t>
        <a:bodyPr/>
        <a:lstStyle/>
        <a:p>
          <a:endParaRPr lang="en-GB" sz="2000" noProof="0"/>
        </a:p>
      </dgm:t>
    </dgm:pt>
    <dgm:pt modelId="{48E9F399-7BC7-6B4E-A5BC-BD83BF37A5C5}" type="sibTrans" cxnId="{72BA1B4F-1268-604F-9543-AA9C14839381}">
      <dgm:prSet custT="1"/>
      <dgm:spPr/>
      <dgm:t>
        <a:bodyPr/>
        <a:lstStyle/>
        <a:p>
          <a:endParaRPr lang="en-GB" sz="1000" noProof="0"/>
        </a:p>
      </dgm:t>
    </dgm:pt>
    <dgm:pt modelId="{3D8B40AE-7BF5-794E-B73A-8041F678029D}">
      <dgm:prSet phldrT="[Tekst]" custT="1"/>
      <dgm:spPr/>
      <dgm:t>
        <a:bodyPr/>
        <a:lstStyle/>
        <a:p>
          <a:r>
            <a:rPr lang="nl-NL" sz="1150" noProof="0" dirty="0"/>
            <a:t>Implementeer, monitor en stuur bij</a:t>
          </a:r>
        </a:p>
      </dgm:t>
    </dgm:pt>
    <dgm:pt modelId="{E46E3D8B-6551-FE43-AF7F-1A488E1C46BE}" type="parTrans" cxnId="{7B790BAB-272D-5840-A3A9-8A00BF8FDC99}">
      <dgm:prSet/>
      <dgm:spPr/>
      <dgm:t>
        <a:bodyPr/>
        <a:lstStyle/>
        <a:p>
          <a:endParaRPr lang="en-GB" sz="2000" noProof="0"/>
        </a:p>
      </dgm:t>
    </dgm:pt>
    <dgm:pt modelId="{7E772805-CE30-824D-B50D-E31166FFA33E}" type="sibTrans" cxnId="{7B790BAB-272D-5840-A3A9-8A00BF8FDC99}">
      <dgm:prSet custT="1"/>
      <dgm:spPr/>
      <dgm:t>
        <a:bodyPr/>
        <a:lstStyle/>
        <a:p>
          <a:endParaRPr lang="en-GB" sz="1000" noProof="0"/>
        </a:p>
      </dgm:t>
    </dgm:pt>
    <dgm:pt modelId="{09A50FEA-4DFC-414E-99BC-8136E04429E0}" type="pres">
      <dgm:prSet presAssocID="{7884725F-3CC6-BD41-A86B-E2975F701CD0}" presName="cycle" presStyleCnt="0">
        <dgm:presLayoutVars>
          <dgm:dir/>
          <dgm:resizeHandles val="exact"/>
        </dgm:presLayoutVars>
      </dgm:prSet>
      <dgm:spPr/>
    </dgm:pt>
    <dgm:pt modelId="{75FC0AF5-D86D-2640-A9BF-2144CAB05585}" type="pres">
      <dgm:prSet presAssocID="{024698D8-4E0F-394F-A661-552EB3614E90}" presName="node" presStyleLbl="node1" presStyleIdx="0" presStyleCnt="5" custRadScaleRad="89668" custRadScaleInc="0">
        <dgm:presLayoutVars>
          <dgm:bulletEnabled val="1"/>
        </dgm:presLayoutVars>
      </dgm:prSet>
      <dgm:spPr/>
    </dgm:pt>
    <dgm:pt modelId="{5A852920-DCCE-1546-A439-04F271EDDA13}" type="pres">
      <dgm:prSet presAssocID="{E179F740-75D2-424C-86C5-F68EF7D4798A}" presName="sibTrans" presStyleLbl="sibTrans2D1" presStyleIdx="0" presStyleCnt="5"/>
      <dgm:spPr/>
    </dgm:pt>
    <dgm:pt modelId="{6AF828B1-3795-414F-8C1A-53097EF0C124}" type="pres">
      <dgm:prSet presAssocID="{E179F740-75D2-424C-86C5-F68EF7D4798A}" presName="connectorText" presStyleLbl="sibTrans2D1" presStyleIdx="0" presStyleCnt="5"/>
      <dgm:spPr/>
    </dgm:pt>
    <dgm:pt modelId="{DB5AD7B8-3052-6144-859C-D080A5F6E8C7}" type="pres">
      <dgm:prSet presAssocID="{F0143A2F-679C-EB47-9E88-8E2C6853D7AA}" presName="node" presStyleLbl="node1" presStyleIdx="1" presStyleCnt="5" custRadScaleRad="84480" custRadScaleInc="-10907">
        <dgm:presLayoutVars>
          <dgm:bulletEnabled val="1"/>
        </dgm:presLayoutVars>
      </dgm:prSet>
      <dgm:spPr/>
    </dgm:pt>
    <dgm:pt modelId="{18D68CB5-F351-8D4F-83CE-3C15DAD94D45}" type="pres">
      <dgm:prSet presAssocID="{9B1A3C1F-E578-534D-9B29-7D4B5C91EFE5}" presName="sibTrans" presStyleLbl="sibTrans2D1" presStyleIdx="1" presStyleCnt="5"/>
      <dgm:spPr/>
    </dgm:pt>
    <dgm:pt modelId="{7E0A0A32-0874-D24A-9F7A-DABBD8B3F919}" type="pres">
      <dgm:prSet presAssocID="{9B1A3C1F-E578-534D-9B29-7D4B5C91EFE5}" presName="connectorText" presStyleLbl="sibTrans2D1" presStyleIdx="1" presStyleCnt="5"/>
      <dgm:spPr/>
    </dgm:pt>
    <dgm:pt modelId="{51BF841A-2860-D54D-BA58-1B430B227390}" type="pres">
      <dgm:prSet presAssocID="{39C79508-FA08-424A-804D-9C0CCEA85C6B}" presName="node" presStyleLbl="node1" presStyleIdx="2" presStyleCnt="5" custRadScaleRad="76756" custRadScaleInc="-7085">
        <dgm:presLayoutVars>
          <dgm:bulletEnabled val="1"/>
        </dgm:presLayoutVars>
      </dgm:prSet>
      <dgm:spPr/>
    </dgm:pt>
    <dgm:pt modelId="{21F41DCE-31D9-B44B-A785-BCC06EAC68F9}" type="pres">
      <dgm:prSet presAssocID="{2A103C25-0306-8241-ABB4-64FD309BCA2A}" presName="sibTrans" presStyleLbl="sibTrans2D1" presStyleIdx="2" presStyleCnt="5"/>
      <dgm:spPr/>
    </dgm:pt>
    <dgm:pt modelId="{C0263740-EFCB-9A4B-B70B-022FC0863643}" type="pres">
      <dgm:prSet presAssocID="{2A103C25-0306-8241-ABB4-64FD309BCA2A}" presName="connectorText" presStyleLbl="sibTrans2D1" presStyleIdx="2" presStyleCnt="5"/>
      <dgm:spPr/>
    </dgm:pt>
    <dgm:pt modelId="{8EA08841-22CD-A34D-92EF-5B19F0666500}" type="pres">
      <dgm:prSet presAssocID="{B6068B38-D6E2-FF48-AAB8-D49DDCC1576D}" presName="node" presStyleLbl="node1" presStyleIdx="3" presStyleCnt="5" custRadScaleRad="80337" custRadScaleInc="12934">
        <dgm:presLayoutVars>
          <dgm:bulletEnabled val="1"/>
        </dgm:presLayoutVars>
      </dgm:prSet>
      <dgm:spPr/>
    </dgm:pt>
    <dgm:pt modelId="{77EF7987-C0D5-1C4B-8227-A233CDC428BD}" type="pres">
      <dgm:prSet presAssocID="{48E9F399-7BC7-6B4E-A5BC-BD83BF37A5C5}" presName="sibTrans" presStyleLbl="sibTrans2D1" presStyleIdx="3" presStyleCnt="5"/>
      <dgm:spPr/>
    </dgm:pt>
    <dgm:pt modelId="{1C03B2C6-26F9-6642-922E-4F47F494F615}" type="pres">
      <dgm:prSet presAssocID="{48E9F399-7BC7-6B4E-A5BC-BD83BF37A5C5}" presName="connectorText" presStyleLbl="sibTrans2D1" presStyleIdx="3" presStyleCnt="5"/>
      <dgm:spPr/>
    </dgm:pt>
    <dgm:pt modelId="{0EA576D4-1DA8-6E4B-8840-F8A025DB5487}" type="pres">
      <dgm:prSet presAssocID="{3D8B40AE-7BF5-794E-B73A-8041F678029D}" presName="node" presStyleLbl="node1" presStyleIdx="4" presStyleCnt="5" custRadScaleRad="87349" custRadScaleInc="11330">
        <dgm:presLayoutVars>
          <dgm:bulletEnabled val="1"/>
        </dgm:presLayoutVars>
      </dgm:prSet>
      <dgm:spPr/>
    </dgm:pt>
    <dgm:pt modelId="{ADDFCDEB-7E5C-1846-B3F3-305F3616F23A}" type="pres">
      <dgm:prSet presAssocID="{7E772805-CE30-824D-B50D-E31166FFA33E}" presName="sibTrans" presStyleLbl="sibTrans2D1" presStyleIdx="4" presStyleCnt="5"/>
      <dgm:spPr/>
    </dgm:pt>
    <dgm:pt modelId="{AFA55529-895E-D04A-A19F-C4E3AD928176}" type="pres">
      <dgm:prSet presAssocID="{7E772805-CE30-824D-B50D-E31166FFA33E}" presName="connectorText" presStyleLbl="sibTrans2D1" presStyleIdx="4" presStyleCnt="5"/>
      <dgm:spPr/>
    </dgm:pt>
  </dgm:ptLst>
  <dgm:cxnLst>
    <dgm:cxn modelId="{3F39D900-69BC-3E48-BF9F-5DFBD3BAB361}" type="presOf" srcId="{3D8B40AE-7BF5-794E-B73A-8041F678029D}" destId="{0EA576D4-1DA8-6E4B-8840-F8A025DB5487}" srcOrd="0" destOrd="0" presId="urn:microsoft.com/office/officeart/2005/8/layout/cycle2"/>
    <dgm:cxn modelId="{FB3C3220-ED18-954D-A1E2-88495048B51E}" srcId="{7884725F-3CC6-BD41-A86B-E2975F701CD0}" destId="{39C79508-FA08-424A-804D-9C0CCEA85C6B}" srcOrd="2" destOrd="0" parTransId="{7FBCDB06-0943-7A40-8743-5B2E31C0CA60}" sibTransId="{2A103C25-0306-8241-ABB4-64FD309BCA2A}"/>
    <dgm:cxn modelId="{B099BE2A-2641-9945-B863-DFC59D677FE7}" type="presOf" srcId="{2A103C25-0306-8241-ABB4-64FD309BCA2A}" destId="{21F41DCE-31D9-B44B-A785-BCC06EAC68F9}" srcOrd="0" destOrd="0" presId="urn:microsoft.com/office/officeart/2005/8/layout/cycle2"/>
    <dgm:cxn modelId="{32733437-A786-8D43-A1F4-133D88DA0B1B}" type="presOf" srcId="{F0143A2F-679C-EB47-9E88-8E2C6853D7AA}" destId="{DB5AD7B8-3052-6144-859C-D080A5F6E8C7}" srcOrd="0" destOrd="0" presId="urn:microsoft.com/office/officeart/2005/8/layout/cycle2"/>
    <dgm:cxn modelId="{71516F3F-131C-E14C-A8B2-B049441D5E37}" type="presOf" srcId="{E179F740-75D2-424C-86C5-F68EF7D4798A}" destId="{6AF828B1-3795-414F-8C1A-53097EF0C124}" srcOrd="1" destOrd="0" presId="urn:microsoft.com/office/officeart/2005/8/layout/cycle2"/>
    <dgm:cxn modelId="{45B8C247-3882-DD4C-B782-9906671BE6E5}" type="presOf" srcId="{9B1A3C1F-E578-534D-9B29-7D4B5C91EFE5}" destId="{7E0A0A32-0874-D24A-9F7A-DABBD8B3F919}" srcOrd="1" destOrd="0" presId="urn:microsoft.com/office/officeart/2005/8/layout/cycle2"/>
    <dgm:cxn modelId="{C663574C-7744-9844-9A21-7140D48AAC5D}" type="presOf" srcId="{7E772805-CE30-824D-B50D-E31166FFA33E}" destId="{AFA55529-895E-D04A-A19F-C4E3AD928176}" srcOrd="1" destOrd="0" presId="urn:microsoft.com/office/officeart/2005/8/layout/cycle2"/>
    <dgm:cxn modelId="{72BA1B4F-1268-604F-9543-AA9C14839381}" srcId="{7884725F-3CC6-BD41-A86B-E2975F701CD0}" destId="{B6068B38-D6E2-FF48-AAB8-D49DDCC1576D}" srcOrd="3" destOrd="0" parTransId="{38A68162-9B9B-4244-9CA1-93D771C2A583}" sibTransId="{48E9F399-7BC7-6B4E-A5BC-BD83BF37A5C5}"/>
    <dgm:cxn modelId="{2296CA98-E9EE-5D4C-AE6D-59E14F22A0AE}" type="presOf" srcId="{7884725F-3CC6-BD41-A86B-E2975F701CD0}" destId="{09A50FEA-4DFC-414E-99BC-8136E04429E0}" srcOrd="0" destOrd="0" presId="urn:microsoft.com/office/officeart/2005/8/layout/cycle2"/>
    <dgm:cxn modelId="{7A9C1DA9-A35C-9843-A700-7364D0AC5EA7}" srcId="{7884725F-3CC6-BD41-A86B-E2975F701CD0}" destId="{024698D8-4E0F-394F-A661-552EB3614E90}" srcOrd="0" destOrd="0" parTransId="{C80D4877-123C-C54C-BCF8-3D95C2DCA637}" sibTransId="{E179F740-75D2-424C-86C5-F68EF7D4798A}"/>
    <dgm:cxn modelId="{7B790BAB-272D-5840-A3A9-8A00BF8FDC99}" srcId="{7884725F-3CC6-BD41-A86B-E2975F701CD0}" destId="{3D8B40AE-7BF5-794E-B73A-8041F678029D}" srcOrd="4" destOrd="0" parTransId="{E46E3D8B-6551-FE43-AF7F-1A488E1C46BE}" sibTransId="{7E772805-CE30-824D-B50D-E31166FFA33E}"/>
    <dgm:cxn modelId="{E9144EB4-321C-E74B-BAB5-87C4EF9DC419}" type="presOf" srcId="{B6068B38-D6E2-FF48-AAB8-D49DDCC1576D}" destId="{8EA08841-22CD-A34D-92EF-5B19F0666500}" srcOrd="0" destOrd="0" presId="urn:microsoft.com/office/officeart/2005/8/layout/cycle2"/>
    <dgm:cxn modelId="{0E5A54C7-E24B-E044-9E5D-313E8281A3AD}" type="presOf" srcId="{E179F740-75D2-424C-86C5-F68EF7D4798A}" destId="{5A852920-DCCE-1546-A439-04F271EDDA13}" srcOrd="0" destOrd="0" presId="urn:microsoft.com/office/officeart/2005/8/layout/cycle2"/>
    <dgm:cxn modelId="{EC7F45CF-84B5-F74B-8BC7-570CE454C499}" type="presOf" srcId="{7E772805-CE30-824D-B50D-E31166FFA33E}" destId="{ADDFCDEB-7E5C-1846-B3F3-305F3616F23A}" srcOrd="0" destOrd="0" presId="urn:microsoft.com/office/officeart/2005/8/layout/cycle2"/>
    <dgm:cxn modelId="{B84CEFD4-7024-944B-A4E8-FCDC7B44A8E2}" type="presOf" srcId="{48E9F399-7BC7-6B4E-A5BC-BD83BF37A5C5}" destId="{1C03B2C6-26F9-6642-922E-4F47F494F615}" srcOrd="1" destOrd="0" presId="urn:microsoft.com/office/officeart/2005/8/layout/cycle2"/>
    <dgm:cxn modelId="{E6744DD5-A5CB-F348-9A08-FBB879B9FA49}" srcId="{7884725F-3CC6-BD41-A86B-E2975F701CD0}" destId="{F0143A2F-679C-EB47-9E88-8E2C6853D7AA}" srcOrd="1" destOrd="0" parTransId="{5DE2576A-1FE4-4A45-88BF-3AB7C9C2FA2D}" sibTransId="{9B1A3C1F-E578-534D-9B29-7D4B5C91EFE5}"/>
    <dgm:cxn modelId="{98EC3BEA-34C7-4443-95EE-3F4743244562}" type="presOf" srcId="{48E9F399-7BC7-6B4E-A5BC-BD83BF37A5C5}" destId="{77EF7987-C0D5-1C4B-8227-A233CDC428BD}" srcOrd="0" destOrd="0" presId="urn:microsoft.com/office/officeart/2005/8/layout/cycle2"/>
    <dgm:cxn modelId="{EEA082EE-F7CB-0845-89A7-5986165E24A4}" type="presOf" srcId="{2A103C25-0306-8241-ABB4-64FD309BCA2A}" destId="{C0263740-EFCB-9A4B-B70B-022FC0863643}" srcOrd="1" destOrd="0" presId="urn:microsoft.com/office/officeart/2005/8/layout/cycle2"/>
    <dgm:cxn modelId="{47194AF3-EC85-1A44-9AC0-8766B5C8E04D}" type="presOf" srcId="{39C79508-FA08-424A-804D-9C0CCEA85C6B}" destId="{51BF841A-2860-D54D-BA58-1B430B227390}" srcOrd="0" destOrd="0" presId="urn:microsoft.com/office/officeart/2005/8/layout/cycle2"/>
    <dgm:cxn modelId="{E613DDF7-5C3C-7A4B-8BDE-22F0DF5EAD5B}" type="presOf" srcId="{024698D8-4E0F-394F-A661-552EB3614E90}" destId="{75FC0AF5-D86D-2640-A9BF-2144CAB05585}" srcOrd="0" destOrd="0" presId="urn:microsoft.com/office/officeart/2005/8/layout/cycle2"/>
    <dgm:cxn modelId="{879521FF-32E1-F347-BA66-B1D504F4BD0A}" type="presOf" srcId="{9B1A3C1F-E578-534D-9B29-7D4B5C91EFE5}" destId="{18D68CB5-F351-8D4F-83CE-3C15DAD94D45}" srcOrd="0" destOrd="0" presId="urn:microsoft.com/office/officeart/2005/8/layout/cycle2"/>
    <dgm:cxn modelId="{4C1B8DDF-5E27-ED41-9850-2849713E821A}" type="presParOf" srcId="{09A50FEA-4DFC-414E-99BC-8136E04429E0}" destId="{75FC0AF5-D86D-2640-A9BF-2144CAB05585}" srcOrd="0" destOrd="0" presId="urn:microsoft.com/office/officeart/2005/8/layout/cycle2"/>
    <dgm:cxn modelId="{1778B94F-CDD5-EF46-A6E0-40339376BC3C}" type="presParOf" srcId="{09A50FEA-4DFC-414E-99BC-8136E04429E0}" destId="{5A852920-DCCE-1546-A439-04F271EDDA13}" srcOrd="1" destOrd="0" presId="urn:microsoft.com/office/officeart/2005/8/layout/cycle2"/>
    <dgm:cxn modelId="{456AB505-1E0A-2146-A329-50CDBF69B2F0}" type="presParOf" srcId="{5A852920-DCCE-1546-A439-04F271EDDA13}" destId="{6AF828B1-3795-414F-8C1A-53097EF0C124}" srcOrd="0" destOrd="0" presId="urn:microsoft.com/office/officeart/2005/8/layout/cycle2"/>
    <dgm:cxn modelId="{31117AE5-FBA8-4A43-88C4-EB89C7C7F01A}" type="presParOf" srcId="{09A50FEA-4DFC-414E-99BC-8136E04429E0}" destId="{DB5AD7B8-3052-6144-859C-D080A5F6E8C7}" srcOrd="2" destOrd="0" presId="urn:microsoft.com/office/officeart/2005/8/layout/cycle2"/>
    <dgm:cxn modelId="{D243CA2B-0695-0947-B608-93C8EC50C87B}" type="presParOf" srcId="{09A50FEA-4DFC-414E-99BC-8136E04429E0}" destId="{18D68CB5-F351-8D4F-83CE-3C15DAD94D45}" srcOrd="3" destOrd="0" presId="urn:microsoft.com/office/officeart/2005/8/layout/cycle2"/>
    <dgm:cxn modelId="{3AE6EB62-5B23-7049-ACBA-A906AB817A57}" type="presParOf" srcId="{18D68CB5-F351-8D4F-83CE-3C15DAD94D45}" destId="{7E0A0A32-0874-D24A-9F7A-DABBD8B3F919}" srcOrd="0" destOrd="0" presId="urn:microsoft.com/office/officeart/2005/8/layout/cycle2"/>
    <dgm:cxn modelId="{9E9E6B63-CAD3-F545-ABF4-B13DD8836A7E}" type="presParOf" srcId="{09A50FEA-4DFC-414E-99BC-8136E04429E0}" destId="{51BF841A-2860-D54D-BA58-1B430B227390}" srcOrd="4" destOrd="0" presId="urn:microsoft.com/office/officeart/2005/8/layout/cycle2"/>
    <dgm:cxn modelId="{3716F20D-BB42-F045-86D3-5A6991843F07}" type="presParOf" srcId="{09A50FEA-4DFC-414E-99BC-8136E04429E0}" destId="{21F41DCE-31D9-B44B-A785-BCC06EAC68F9}" srcOrd="5" destOrd="0" presId="urn:microsoft.com/office/officeart/2005/8/layout/cycle2"/>
    <dgm:cxn modelId="{DBBACC6C-74DE-7A45-BF56-DDE95565597F}" type="presParOf" srcId="{21F41DCE-31D9-B44B-A785-BCC06EAC68F9}" destId="{C0263740-EFCB-9A4B-B70B-022FC0863643}" srcOrd="0" destOrd="0" presId="urn:microsoft.com/office/officeart/2005/8/layout/cycle2"/>
    <dgm:cxn modelId="{B6BA1EFB-8814-EC48-8496-8A32B060F5B7}" type="presParOf" srcId="{09A50FEA-4DFC-414E-99BC-8136E04429E0}" destId="{8EA08841-22CD-A34D-92EF-5B19F0666500}" srcOrd="6" destOrd="0" presId="urn:microsoft.com/office/officeart/2005/8/layout/cycle2"/>
    <dgm:cxn modelId="{D10BAB7C-B463-254B-8D48-A8C43930FE7C}" type="presParOf" srcId="{09A50FEA-4DFC-414E-99BC-8136E04429E0}" destId="{77EF7987-C0D5-1C4B-8227-A233CDC428BD}" srcOrd="7" destOrd="0" presId="urn:microsoft.com/office/officeart/2005/8/layout/cycle2"/>
    <dgm:cxn modelId="{CB5E6DE1-B58A-4B4D-A293-5AEBAC94C367}" type="presParOf" srcId="{77EF7987-C0D5-1C4B-8227-A233CDC428BD}" destId="{1C03B2C6-26F9-6642-922E-4F47F494F615}" srcOrd="0" destOrd="0" presId="urn:microsoft.com/office/officeart/2005/8/layout/cycle2"/>
    <dgm:cxn modelId="{F1375AA5-3B20-644F-A842-1B09FA51A7B2}" type="presParOf" srcId="{09A50FEA-4DFC-414E-99BC-8136E04429E0}" destId="{0EA576D4-1DA8-6E4B-8840-F8A025DB5487}" srcOrd="8" destOrd="0" presId="urn:microsoft.com/office/officeart/2005/8/layout/cycle2"/>
    <dgm:cxn modelId="{F3D2C1B6-79B0-9B41-B164-498A725C0AE1}" type="presParOf" srcId="{09A50FEA-4DFC-414E-99BC-8136E04429E0}" destId="{ADDFCDEB-7E5C-1846-B3F3-305F3616F23A}" srcOrd="9" destOrd="0" presId="urn:microsoft.com/office/officeart/2005/8/layout/cycle2"/>
    <dgm:cxn modelId="{F55A2D16-5E9F-DB4E-B4AF-BFBED727323A}" type="presParOf" srcId="{ADDFCDEB-7E5C-1846-B3F3-305F3616F23A}" destId="{AFA55529-895E-D04A-A19F-C4E3AD928176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762A85-A072-504C-9783-88C93BFCE045}">
      <dsp:nvSpPr>
        <dsp:cNvPr id="0" name=""/>
        <dsp:cNvSpPr/>
      </dsp:nvSpPr>
      <dsp:spPr>
        <a:xfrm>
          <a:off x="856023" y="389149"/>
          <a:ext cx="3542001" cy="3542001"/>
        </a:xfrm>
        <a:prstGeom prst="pie">
          <a:avLst>
            <a:gd name="adj1" fmla="val 16200000"/>
            <a:gd name="adj2" fmla="val 1800000"/>
          </a:avLst>
        </a:prstGeom>
        <a:solidFill>
          <a:schemeClr val="accent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300" b="0" kern="1200" cap="none" spc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ENVIRONMENT</a:t>
          </a:r>
        </a:p>
      </dsp:txBody>
      <dsp:txXfrm>
        <a:off x="2781775" y="1042733"/>
        <a:ext cx="1201750" cy="1180667"/>
      </dsp:txXfrm>
    </dsp:sp>
    <dsp:sp modelId="{F05F5FCF-DFEE-1D43-B5FC-2A9EB2537A32}">
      <dsp:nvSpPr>
        <dsp:cNvPr id="0" name=""/>
        <dsp:cNvSpPr/>
      </dsp:nvSpPr>
      <dsp:spPr>
        <a:xfrm>
          <a:off x="853729" y="390041"/>
          <a:ext cx="3542001" cy="3542001"/>
        </a:xfrm>
        <a:prstGeom prst="pie">
          <a:avLst>
            <a:gd name="adj1" fmla="val 1800000"/>
            <a:gd name="adj2" fmla="val 9000000"/>
          </a:avLst>
        </a:prstGeom>
        <a:solidFill>
          <a:schemeClr val="accent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300" b="0" kern="1200" cap="none" spc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SOCIAL</a:t>
          </a:r>
        </a:p>
      </dsp:txBody>
      <dsp:txXfrm>
        <a:off x="1823563" y="2624876"/>
        <a:ext cx="1602334" cy="1096333"/>
      </dsp:txXfrm>
    </dsp:sp>
    <dsp:sp modelId="{CE674408-B49C-2E4A-B5FB-0567F25FF884}">
      <dsp:nvSpPr>
        <dsp:cNvPr id="0" name=""/>
        <dsp:cNvSpPr/>
      </dsp:nvSpPr>
      <dsp:spPr>
        <a:xfrm>
          <a:off x="853729" y="390041"/>
          <a:ext cx="3542001" cy="3542001"/>
        </a:xfrm>
        <a:prstGeom prst="pie">
          <a:avLst>
            <a:gd name="adj1" fmla="val 9000000"/>
            <a:gd name="adj2" fmla="val 16200000"/>
          </a:avLst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300" b="0" kern="1200" cap="none" spc="0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GOVERNANCE</a:t>
          </a:r>
        </a:p>
      </dsp:txBody>
      <dsp:txXfrm>
        <a:off x="1233229" y="1085792"/>
        <a:ext cx="1201750" cy="118066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82F57F-4710-2E47-B82C-60363832894F}">
      <dsp:nvSpPr>
        <dsp:cNvPr id="0" name=""/>
        <dsp:cNvSpPr/>
      </dsp:nvSpPr>
      <dsp:spPr>
        <a:xfrm>
          <a:off x="1277454" y="0"/>
          <a:ext cx="4361048" cy="4361048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200" kern="1200" dirty="0"/>
            <a:t>SUSTAINABLE DIGITAL BUSINESS STRATEGY</a:t>
          </a:r>
        </a:p>
      </dsp:txBody>
      <dsp:txXfrm>
        <a:off x="2848303" y="218052"/>
        <a:ext cx="1219349" cy="654157"/>
      </dsp:txXfrm>
    </dsp:sp>
    <dsp:sp modelId="{8A971781-F9AB-F44B-8DDA-747D24C888A0}">
      <dsp:nvSpPr>
        <dsp:cNvPr id="0" name=""/>
        <dsp:cNvSpPr/>
      </dsp:nvSpPr>
      <dsp:spPr>
        <a:xfrm>
          <a:off x="1713558" y="872209"/>
          <a:ext cx="3488838" cy="3488838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200" kern="1200" dirty="0"/>
            <a:t>DIGITAL BUSINESS STRATEGY</a:t>
          </a:r>
        </a:p>
      </dsp:txBody>
      <dsp:txXfrm>
        <a:off x="2848303" y="1081539"/>
        <a:ext cx="1219349" cy="627990"/>
      </dsp:txXfrm>
    </dsp:sp>
    <dsp:sp modelId="{D390A505-D512-4048-A9DF-9EE1CD4053E9}">
      <dsp:nvSpPr>
        <dsp:cNvPr id="0" name=""/>
        <dsp:cNvSpPr/>
      </dsp:nvSpPr>
      <dsp:spPr>
        <a:xfrm>
          <a:off x="2149663" y="1744419"/>
          <a:ext cx="2616628" cy="2616628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200" kern="1200" dirty="0"/>
            <a:t>IT STRATEGY</a:t>
          </a:r>
        </a:p>
      </dsp:txBody>
      <dsp:txXfrm>
        <a:off x="2848303" y="1940666"/>
        <a:ext cx="1219349" cy="588741"/>
      </dsp:txXfrm>
    </dsp:sp>
    <dsp:sp modelId="{63163B1F-AC18-BF41-A003-B5178A2191F7}">
      <dsp:nvSpPr>
        <dsp:cNvPr id="0" name=""/>
        <dsp:cNvSpPr/>
      </dsp:nvSpPr>
      <dsp:spPr>
        <a:xfrm>
          <a:off x="2585768" y="2616628"/>
          <a:ext cx="1744419" cy="1744419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200" kern="1200" dirty="0"/>
            <a:t>GREEN IT STRATEGY</a:t>
          </a:r>
        </a:p>
      </dsp:txBody>
      <dsp:txXfrm>
        <a:off x="2841232" y="3052733"/>
        <a:ext cx="1233490" cy="87220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5FC0AF5-D86D-2640-A9BF-2144CAB05585}">
      <dsp:nvSpPr>
        <dsp:cNvPr id="0" name=""/>
        <dsp:cNvSpPr/>
      </dsp:nvSpPr>
      <dsp:spPr>
        <a:xfrm>
          <a:off x="2025780" y="180266"/>
          <a:ext cx="1357563" cy="1357563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nl-NL" sz="1200" b="0" i="0" kern="1200" noProof="0" dirty="0"/>
            <a:t>Definieer strategie</a:t>
          </a:r>
          <a:endParaRPr lang="nl-NL" sz="1200" kern="1200" noProof="0" dirty="0"/>
        </a:p>
      </dsp:txBody>
      <dsp:txXfrm>
        <a:off x="2224590" y="379076"/>
        <a:ext cx="959943" cy="959943"/>
      </dsp:txXfrm>
    </dsp:sp>
    <dsp:sp modelId="{5A852920-DCCE-1546-A439-04F271EDDA13}">
      <dsp:nvSpPr>
        <dsp:cNvPr id="0" name=""/>
        <dsp:cNvSpPr/>
      </dsp:nvSpPr>
      <dsp:spPr>
        <a:xfrm rot="2193730">
          <a:off x="3291196" y="1130400"/>
          <a:ext cx="176281" cy="458177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000" kern="1200" noProof="0"/>
        </a:p>
      </dsp:txBody>
      <dsp:txXfrm>
        <a:off x="3296399" y="1206284"/>
        <a:ext cx="123397" cy="274907"/>
      </dsp:txXfrm>
    </dsp:sp>
    <dsp:sp modelId="{DB5AD7B8-3052-6144-859C-D080A5F6E8C7}">
      <dsp:nvSpPr>
        <dsp:cNvPr id="0" name=""/>
        <dsp:cNvSpPr/>
      </dsp:nvSpPr>
      <dsp:spPr>
        <a:xfrm>
          <a:off x="3383344" y="1187092"/>
          <a:ext cx="1357563" cy="1357563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nl-NL" sz="1200" b="0" i="0" kern="1200" noProof="0" dirty="0"/>
            <a:t>Identificeer Green (</a:t>
          </a:r>
          <a:r>
            <a:rPr lang="nl-NL" sz="1200" b="0" i="0" kern="1200" noProof="0" dirty="0" err="1"/>
            <a:t>by</a:t>
          </a:r>
          <a:r>
            <a:rPr lang="nl-NL" sz="1200" b="0" i="0" kern="1200" noProof="0" dirty="0"/>
            <a:t>) IT initiatieven</a:t>
          </a:r>
          <a:endParaRPr lang="nl-NL" sz="1200" kern="1200" noProof="0" dirty="0"/>
        </a:p>
      </dsp:txBody>
      <dsp:txXfrm>
        <a:off x="3582154" y="1385902"/>
        <a:ext cx="959943" cy="959943"/>
      </dsp:txXfrm>
    </dsp:sp>
    <dsp:sp modelId="{18D68CB5-F351-8D4F-83CE-3C15DAD94D45}">
      <dsp:nvSpPr>
        <dsp:cNvPr id="0" name=""/>
        <dsp:cNvSpPr/>
      </dsp:nvSpPr>
      <dsp:spPr>
        <a:xfrm rot="6506421">
          <a:off x="3715780" y="2425462"/>
          <a:ext cx="166740" cy="458177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000" kern="1200" noProof="0"/>
        </a:p>
      </dsp:txBody>
      <dsp:txXfrm rot="10800000">
        <a:off x="3748702" y="2493370"/>
        <a:ext cx="116718" cy="274907"/>
      </dsp:txXfrm>
    </dsp:sp>
    <dsp:sp modelId="{51BF841A-2860-D54D-BA58-1B430B227390}">
      <dsp:nvSpPr>
        <dsp:cNvPr id="0" name=""/>
        <dsp:cNvSpPr/>
      </dsp:nvSpPr>
      <dsp:spPr>
        <a:xfrm>
          <a:off x="2854408" y="2773400"/>
          <a:ext cx="1357563" cy="1357563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200" kern="1200" noProof="0" dirty="0"/>
            <a:t>Bepaal gezamenlijke criteria</a:t>
          </a:r>
        </a:p>
      </dsp:txBody>
      <dsp:txXfrm>
        <a:off x="3053218" y="2972210"/>
        <a:ext cx="959943" cy="959943"/>
      </dsp:txXfrm>
    </dsp:sp>
    <dsp:sp modelId="{21F41DCE-31D9-B44B-A785-BCC06EAC68F9}">
      <dsp:nvSpPr>
        <dsp:cNvPr id="0" name=""/>
        <dsp:cNvSpPr/>
      </dsp:nvSpPr>
      <dsp:spPr>
        <a:xfrm rot="10768478">
          <a:off x="2571074" y="3230998"/>
          <a:ext cx="200248" cy="458177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000" kern="1200" noProof="0"/>
        </a:p>
      </dsp:txBody>
      <dsp:txXfrm rot="10800000">
        <a:off x="2631147" y="3322358"/>
        <a:ext cx="140174" cy="274907"/>
      </dsp:txXfrm>
    </dsp:sp>
    <dsp:sp modelId="{8EA08841-22CD-A34D-92EF-5B19F0666500}">
      <dsp:nvSpPr>
        <dsp:cNvPr id="0" name=""/>
        <dsp:cNvSpPr/>
      </dsp:nvSpPr>
      <dsp:spPr>
        <a:xfrm>
          <a:off x="1119091" y="2789313"/>
          <a:ext cx="1357563" cy="1357563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200" kern="1200" noProof="0" dirty="0"/>
            <a:t>Effectentoets en kosten-batenanalyse</a:t>
          </a:r>
        </a:p>
      </dsp:txBody>
      <dsp:txXfrm>
        <a:off x="1317901" y="2988123"/>
        <a:ext cx="959943" cy="959943"/>
      </dsp:txXfrm>
    </dsp:sp>
    <dsp:sp modelId="{77EF7987-C0D5-1C4B-8227-A233CDC428BD}">
      <dsp:nvSpPr>
        <dsp:cNvPr id="0" name=""/>
        <dsp:cNvSpPr/>
      </dsp:nvSpPr>
      <dsp:spPr>
        <a:xfrm rot="15182305">
          <a:off x="1461310" y="2431642"/>
          <a:ext cx="180636" cy="458177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000" kern="1200" noProof="0"/>
        </a:p>
      </dsp:txBody>
      <dsp:txXfrm rot="10800000">
        <a:off x="1496310" y="2549194"/>
        <a:ext cx="126445" cy="274907"/>
      </dsp:txXfrm>
    </dsp:sp>
    <dsp:sp modelId="{0EA576D4-1DA8-6E4B-8840-F8A025DB5487}">
      <dsp:nvSpPr>
        <dsp:cNvPr id="0" name=""/>
        <dsp:cNvSpPr/>
      </dsp:nvSpPr>
      <dsp:spPr>
        <a:xfrm>
          <a:off x="623619" y="1164805"/>
          <a:ext cx="1357563" cy="1357563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150" kern="1200" noProof="0" dirty="0"/>
            <a:t>Implementeer, monitor en stuur bij</a:t>
          </a:r>
        </a:p>
      </dsp:txBody>
      <dsp:txXfrm>
        <a:off x="822429" y="1363615"/>
        <a:ext cx="959943" cy="959943"/>
      </dsp:txXfrm>
    </dsp:sp>
    <dsp:sp modelId="{ADDFCDEB-7E5C-1846-B3F3-305F3616F23A}">
      <dsp:nvSpPr>
        <dsp:cNvPr id="0" name=""/>
        <dsp:cNvSpPr/>
      </dsp:nvSpPr>
      <dsp:spPr>
        <a:xfrm rot="19495505">
          <a:off x="1904846" y="1125295"/>
          <a:ext cx="188536" cy="458177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000" kern="1200" noProof="0"/>
        </a:p>
      </dsp:txBody>
      <dsp:txXfrm>
        <a:off x="1909982" y="1233181"/>
        <a:ext cx="131975" cy="27490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A8384B-C9F3-9B49-94F6-204BF894741F}" type="datetimeFigureOut">
              <a:rPr lang="nl-NL" smtClean="0"/>
              <a:t>16-5-2024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E0549E-0D35-8D40-96CD-35EE893BFCC3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075973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Anekdote over ontwikkelingen</a:t>
            </a:r>
          </a:p>
          <a:p>
            <a:endParaRPr lang="nl-NL" dirty="0"/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E0549E-0D35-8D40-96CD-35EE893BFCC3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954471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 err="1"/>
              <a:t>Ik</a:t>
            </a:r>
            <a:r>
              <a:rPr lang="en-US" dirty="0"/>
              <a:t> ben </a:t>
            </a:r>
            <a:r>
              <a:rPr lang="en-US" dirty="0" err="1"/>
              <a:t>geen</a:t>
            </a:r>
            <a:r>
              <a:rPr lang="en-US" dirty="0"/>
              <a:t> </a:t>
            </a:r>
            <a:r>
              <a:rPr lang="en-US" dirty="0" err="1"/>
              <a:t>duurzaamheidsexpert</a:t>
            </a:r>
            <a:r>
              <a:rPr lang="en-US" dirty="0"/>
              <a:t>: </a:t>
            </a:r>
            <a:r>
              <a:rPr lang="en-US" dirty="0" err="1"/>
              <a:t>wie</a:t>
            </a:r>
            <a:r>
              <a:rPr lang="en-US" dirty="0"/>
              <a:t> is </a:t>
            </a:r>
            <a:r>
              <a:rPr lang="en-US" dirty="0" err="1"/>
              <a:t>dat</a:t>
            </a:r>
            <a:r>
              <a:rPr lang="en-US" dirty="0"/>
              <a:t> </a:t>
            </a:r>
            <a:r>
              <a:rPr lang="en-US" dirty="0" err="1"/>
              <a:t>wel</a:t>
            </a:r>
            <a:r>
              <a:rPr lang="en-US" dirty="0"/>
              <a:t>?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5D1758-ED3D-4611-B861-63A1DF03220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14229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Iedere dag wel iets over in de krant: nieuwe richtlijnen, toekomstig watertekort, </a:t>
            </a:r>
            <a:r>
              <a:rPr lang="nl-NL" dirty="0" err="1"/>
              <a:t>inclusiviteit</a:t>
            </a:r>
            <a:endParaRPr lang="nl-NL" dirty="0"/>
          </a:p>
          <a:p>
            <a:r>
              <a:rPr lang="nl-NL" dirty="0"/>
              <a:t>Maar wat betekent dat voor ons?</a:t>
            </a:r>
          </a:p>
          <a:p>
            <a:endParaRPr lang="nl-NL" dirty="0"/>
          </a:p>
          <a:p>
            <a:r>
              <a:rPr lang="nl-NL" dirty="0"/>
              <a:t>WAT DUURZAAM IS, IS AFHANKELIJK VAN DE CONTEXT</a:t>
            </a:r>
          </a:p>
          <a:p>
            <a:endParaRPr lang="nl-NL" dirty="0"/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666D20-57B6-43B3-A329-8999368EC9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09713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  <a:p>
            <a:r>
              <a:rPr lang="nl-NL" dirty="0"/>
              <a:t>GREEN IT ACTIVITEITEN: 1-2-3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666D20-57B6-43B3-A329-8999368EC9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46927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Optioneel 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666D20-57B6-43B3-A329-8999368EC9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65817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nl-NL" sz="800" dirty="0">
              <a:solidFill>
                <a:schemeClr val="tx2"/>
              </a:solidFill>
              <a:highlight>
                <a:srgbClr val="FFFFFF"/>
              </a:highlight>
              <a:latin typeface="Söhne"/>
            </a:endParaRPr>
          </a:p>
          <a:p>
            <a:pPr>
              <a:defRPr/>
            </a:pPr>
            <a:endParaRPr lang="nl-NL" sz="800" dirty="0">
              <a:solidFill>
                <a:schemeClr val="tx2"/>
              </a:solidFill>
              <a:highlight>
                <a:srgbClr val="FFFFFF"/>
              </a:highlight>
              <a:latin typeface="Söhne"/>
            </a:endParaRPr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666D20-57B6-43B3-A329-8999368EC9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45676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sz="1050" dirty="0">
                <a:effectLst/>
                <a:latin typeface="Helvetica Neue" panose="02000503000000020004" pitchFamily="2" charset="0"/>
              </a:rPr>
              <a:t>GREEN IT IS 1 ONDERDEEL  VAN DE AFWEGING BINNEN DE BUSINESS CA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l-NL" dirty="0">
              <a:effectLst/>
              <a:latin typeface="Helvetica Neue" panose="02000503000000020004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dirty="0">
                <a:effectLst/>
                <a:latin typeface="Helvetica Neue" panose="02000503000000020004" pitchFamily="2" charset="0"/>
              </a:rPr>
              <a:t>Wat is goed organiseren? Is dat nieuw? Ligt ook aan welke doelen: green </a:t>
            </a:r>
            <a:r>
              <a:rPr lang="nl-NL" dirty="0" err="1">
                <a:effectLst/>
                <a:latin typeface="Helvetica Neue" panose="02000503000000020004" pitchFamily="2" charset="0"/>
              </a:rPr>
              <a:t>it</a:t>
            </a:r>
            <a:r>
              <a:rPr lang="nl-NL" dirty="0">
                <a:effectLst/>
                <a:latin typeface="Helvetica Neue" panose="02000503000000020004" pitchFamily="2" charset="0"/>
              </a:rPr>
              <a:t> of green </a:t>
            </a:r>
            <a:r>
              <a:rPr lang="nl-NL" dirty="0" err="1">
                <a:effectLst/>
                <a:latin typeface="Helvetica Neue" panose="02000503000000020004" pitchFamily="2" charset="0"/>
              </a:rPr>
              <a:t>by</a:t>
            </a:r>
            <a:r>
              <a:rPr lang="nl-NL" dirty="0">
                <a:effectLst/>
                <a:latin typeface="Helvetica Neue" panose="02000503000000020004" pitchFamily="2" charset="0"/>
              </a:rPr>
              <a:t> </a:t>
            </a:r>
            <a:r>
              <a:rPr lang="nl-NL" dirty="0" err="1">
                <a:effectLst/>
                <a:latin typeface="Helvetica Neue" panose="02000503000000020004" pitchFamily="2" charset="0"/>
              </a:rPr>
              <a:t>it</a:t>
            </a:r>
            <a:endParaRPr lang="nl-NL" dirty="0">
              <a:effectLst/>
              <a:latin typeface="Helvetica Neue" panose="02000503000000020004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l-NL" dirty="0">
              <a:effectLst/>
              <a:latin typeface="Helvetica Neue" panose="02000503000000020004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666D20-57B6-43B3-A329-8999368EC9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32453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oe het samen, maar maak het niet te moeilijk</a:t>
            </a:r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E0549E-0D35-8D40-96CD-35EE893BFCC3}" type="slidenum">
              <a:rPr lang="nl-NL" smtClean="0"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722395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666D20-57B6-43B3-A329-8999368EC9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11809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8343792-E0B7-0403-490F-1CA46DEC27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177A3"/>
              </a:gs>
              <a:gs pos="100000">
                <a:srgbClr val="1C609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66A639F-7E97-2DEE-9FB5-DF6AA13FA9D2}"/>
              </a:ext>
            </a:extLst>
          </p:cNvPr>
          <p:cNvCxnSpPr>
            <a:cxnSpLocks/>
          </p:cNvCxnSpPr>
          <p:nvPr userDrawn="1"/>
        </p:nvCxnSpPr>
        <p:spPr>
          <a:xfrm>
            <a:off x="0" y="4965692"/>
            <a:ext cx="6249500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82DB989-03F8-3CE1-04EA-15CC1909D25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687006" y="3350"/>
            <a:ext cx="8502795" cy="6224845"/>
          </a:xfrm>
          <a:custGeom>
            <a:avLst/>
            <a:gdLst>
              <a:gd name="connsiteX0" fmla="*/ 47748 w 8502795"/>
              <a:gd name="connsiteY0" fmla="*/ 0 h 6224845"/>
              <a:gd name="connsiteX1" fmla="*/ 2626538 w 8502795"/>
              <a:gd name="connsiteY1" fmla="*/ 0 h 6224845"/>
              <a:gd name="connsiteX2" fmla="*/ 8502674 w 8502795"/>
              <a:gd name="connsiteY2" fmla="*/ 0 h 6224845"/>
              <a:gd name="connsiteX3" fmla="*/ 8502795 w 8502795"/>
              <a:gd name="connsiteY3" fmla="*/ 0 h 6224845"/>
              <a:gd name="connsiteX4" fmla="*/ 8502795 w 8502795"/>
              <a:gd name="connsiteY4" fmla="*/ 6224845 h 6224845"/>
              <a:gd name="connsiteX5" fmla="*/ 4030907 w 8502795"/>
              <a:gd name="connsiteY5" fmla="*/ 5681498 h 6224845"/>
              <a:gd name="connsiteX6" fmla="*/ 47748 w 8502795"/>
              <a:gd name="connsiteY6" fmla="*/ 0 h 6224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02795" h="6224845">
                <a:moveTo>
                  <a:pt x="47748" y="0"/>
                </a:moveTo>
                <a:lnTo>
                  <a:pt x="2626538" y="0"/>
                </a:lnTo>
                <a:lnTo>
                  <a:pt x="8502674" y="0"/>
                </a:lnTo>
                <a:lnTo>
                  <a:pt x="8502795" y="0"/>
                </a:lnTo>
                <a:lnTo>
                  <a:pt x="8502795" y="6224845"/>
                </a:lnTo>
                <a:cubicBezTo>
                  <a:pt x="5881364" y="6224845"/>
                  <a:pt x="4030907" y="5681498"/>
                  <a:pt x="4030907" y="5681498"/>
                </a:cubicBezTo>
                <a:cubicBezTo>
                  <a:pt x="-734221" y="4044249"/>
                  <a:pt x="47748" y="0"/>
                  <a:pt x="4774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  <a:endParaRPr lang="en-US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0183B35-E8E5-D8B1-512C-F1D1BCA30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7650" y="604491"/>
            <a:ext cx="1910750" cy="456671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4D050A6-A76F-877C-7627-C3038D143096}"/>
              </a:ext>
            </a:extLst>
          </p:cNvPr>
          <p:cNvCxnSpPr>
            <a:cxnSpLocks/>
          </p:cNvCxnSpPr>
          <p:nvPr userDrawn="1"/>
        </p:nvCxnSpPr>
        <p:spPr>
          <a:xfrm>
            <a:off x="527650" y="4965692"/>
            <a:ext cx="1019210" cy="0"/>
          </a:xfrm>
          <a:prstGeom prst="line">
            <a:avLst/>
          </a:prstGeom>
          <a:ln w="381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reeform: Shape 4">
            <a:extLst>
              <a:ext uri="{FF2B5EF4-FFF2-40B4-BE49-F238E27FC236}">
                <a16:creationId xmlns:a16="http://schemas.microsoft.com/office/drawing/2014/main" id="{E35271DF-AEAF-5D97-DA2B-33C4C3DFCD89}"/>
              </a:ext>
            </a:extLst>
          </p:cNvPr>
          <p:cNvSpPr/>
          <p:nvPr userDrawn="1"/>
        </p:nvSpPr>
        <p:spPr>
          <a:xfrm>
            <a:off x="3689205" y="0"/>
            <a:ext cx="8502795" cy="6224845"/>
          </a:xfrm>
          <a:custGeom>
            <a:avLst/>
            <a:gdLst>
              <a:gd name="connsiteX0" fmla="*/ 47747 w 8502795"/>
              <a:gd name="connsiteY0" fmla="*/ 0 h 6224845"/>
              <a:gd name="connsiteX1" fmla="*/ 2626537 w 8502795"/>
              <a:gd name="connsiteY1" fmla="*/ 0 h 6224845"/>
              <a:gd name="connsiteX2" fmla="*/ 4816419 w 8502795"/>
              <a:gd name="connsiteY2" fmla="*/ 5020612 h 6224845"/>
              <a:gd name="connsiteX3" fmla="*/ 8502673 w 8502795"/>
              <a:gd name="connsiteY3" fmla="*/ 5778634 h 6224845"/>
              <a:gd name="connsiteX4" fmla="*/ 8502673 w 8502795"/>
              <a:gd name="connsiteY4" fmla="*/ 0 h 6224845"/>
              <a:gd name="connsiteX5" fmla="*/ 8502795 w 8502795"/>
              <a:gd name="connsiteY5" fmla="*/ 0 h 6224845"/>
              <a:gd name="connsiteX6" fmla="*/ 8502795 w 8502795"/>
              <a:gd name="connsiteY6" fmla="*/ 6224845 h 6224845"/>
              <a:gd name="connsiteX7" fmla="*/ 4030906 w 8502795"/>
              <a:gd name="connsiteY7" fmla="*/ 5681498 h 6224845"/>
              <a:gd name="connsiteX8" fmla="*/ 47747 w 8502795"/>
              <a:gd name="connsiteY8" fmla="*/ 0 h 6224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02795" h="6224845">
                <a:moveTo>
                  <a:pt x="47747" y="0"/>
                </a:moveTo>
                <a:lnTo>
                  <a:pt x="2626537" y="0"/>
                </a:lnTo>
                <a:cubicBezTo>
                  <a:pt x="2626537" y="0"/>
                  <a:pt x="1971393" y="3691752"/>
                  <a:pt x="4816419" y="5020612"/>
                </a:cubicBezTo>
                <a:cubicBezTo>
                  <a:pt x="4816419" y="5020612"/>
                  <a:pt x="6555079" y="5834837"/>
                  <a:pt x="8502673" y="5778634"/>
                </a:cubicBezTo>
                <a:lnTo>
                  <a:pt x="8502673" y="0"/>
                </a:lnTo>
                <a:lnTo>
                  <a:pt x="8502795" y="0"/>
                </a:lnTo>
                <a:lnTo>
                  <a:pt x="8502795" y="6224845"/>
                </a:lnTo>
                <a:cubicBezTo>
                  <a:pt x="5881363" y="6224845"/>
                  <a:pt x="4030906" y="5681498"/>
                  <a:pt x="4030906" y="5681498"/>
                </a:cubicBezTo>
                <a:cubicBezTo>
                  <a:pt x="-734222" y="4044249"/>
                  <a:pt x="47747" y="0"/>
                  <a:pt x="47747" y="0"/>
                </a:cubicBezTo>
                <a:close/>
              </a:path>
            </a:pathLst>
          </a:custGeom>
          <a:solidFill>
            <a:srgbClr val="0079A8">
              <a:alpha val="56000"/>
            </a:srgbClr>
          </a:solidFill>
          <a:ln w="1220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9662F990-D2CF-3319-EEAD-A8658307D2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916" y="3429000"/>
            <a:ext cx="8570188" cy="1584561"/>
          </a:xfrm>
          <a:prstGeom prst="rect">
            <a:avLst/>
          </a:prstGeom>
        </p:spPr>
        <p:txBody>
          <a:bodyPr lIns="0" anchor="b">
            <a:noAutofit/>
          </a:bodyPr>
          <a:lstStyle>
            <a:lvl1pPr algn="l">
              <a:lnSpc>
                <a:spcPct val="60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2B2B2459-60BA-9383-547A-159C9B9623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16" y="5104011"/>
            <a:ext cx="8548255" cy="1300978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953797520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5963F76-9109-6F65-6235-1DE7A2E012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177A3"/>
              </a:gs>
              <a:gs pos="100000">
                <a:srgbClr val="1C609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0E0D1636-63D9-AE84-54BF-7E9D45D07715}"/>
              </a:ext>
            </a:extLst>
          </p:cNvPr>
          <p:cNvSpPr/>
          <p:nvPr userDrawn="1"/>
        </p:nvSpPr>
        <p:spPr>
          <a:xfrm>
            <a:off x="7106685" y="0"/>
            <a:ext cx="5085315" cy="6858000"/>
          </a:xfrm>
          <a:custGeom>
            <a:avLst/>
            <a:gdLst>
              <a:gd name="connsiteX0" fmla="*/ 5085315 w 5085315"/>
              <a:gd name="connsiteY0" fmla="*/ 6391986 h 6858000"/>
              <a:gd name="connsiteX1" fmla="*/ 5085315 w 5085315"/>
              <a:gd name="connsiteY1" fmla="*/ 6858000 h 6858000"/>
              <a:gd name="connsiteX2" fmla="*/ 4995141 w 5085315"/>
              <a:gd name="connsiteY2" fmla="*/ 6858000 h 6858000"/>
              <a:gd name="connsiteX3" fmla="*/ 5040631 w 5085315"/>
              <a:gd name="connsiteY3" fmla="*/ 6604731 h 6858000"/>
              <a:gd name="connsiteX4" fmla="*/ 4522503 w 5085315"/>
              <a:gd name="connsiteY4" fmla="*/ 2897654 h 6858000"/>
              <a:gd name="connsiteX5" fmla="*/ 5075033 w 5085315"/>
              <a:gd name="connsiteY5" fmla="*/ 3148611 h 6858000"/>
              <a:gd name="connsiteX6" fmla="*/ 5085313 w 5085315"/>
              <a:gd name="connsiteY6" fmla="*/ 3161904 h 6858000"/>
              <a:gd name="connsiteX7" fmla="*/ 5085313 w 5085315"/>
              <a:gd name="connsiteY7" fmla="*/ 6391986 h 6858000"/>
              <a:gd name="connsiteX8" fmla="*/ 5040629 w 5085315"/>
              <a:gd name="connsiteY8" fmla="*/ 6604731 h 6858000"/>
              <a:gd name="connsiteX9" fmla="*/ 4995139 w 5085315"/>
              <a:gd name="connsiteY9" fmla="*/ 6858000 h 6858000"/>
              <a:gd name="connsiteX10" fmla="*/ 3676442 w 5085315"/>
              <a:gd name="connsiteY10" fmla="*/ 6858000 h 6858000"/>
              <a:gd name="connsiteX11" fmla="*/ 3694783 w 5085315"/>
              <a:gd name="connsiteY11" fmla="*/ 6740622 h 6858000"/>
              <a:gd name="connsiteX12" fmla="*/ 3951991 w 5085315"/>
              <a:gd name="connsiteY12" fmla="*/ 5456270 h 6858000"/>
              <a:gd name="connsiteX13" fmla="*/ 4182873 w 5085315"/>
              <a:gd name="connsiteY13" fmla="*/ 3742052 h 6858000"/>
              <a:gd name="connsiteX14" fmla="*/ 4156305 w 5085315"/>
              <a:gd name="connsiteY14" fmla="*/ 3649929 h 6858000"/>
              <a:gd name="connsiteX15" fmla="*/ 4064183 w 5085315"/>
              <a:gd name="connsiteY15" fmla="*/ 3716250 h 6858000"/>
              <a:gd name="connsiteX16" fmla="*/ 3030951 w 5085315"/>
              <a:gd name="connsiteY16" fmla="*/ 5854962 h 6858000"/>
              <a:gd name="connsiteX17" fmla="*/ 2916631 w 5085315"/>
              <a:gd name="connsiteY17" fmla="*/ 6372674 h 6858000"/>
              <a:gd name="connsiteX18" fmla="*/ 2814144 w 5085315"/>
              <a:gd name="connsiteY18" fmla="*/ 6858000 h 6858000"/>
              <a:gd name="connsiteX19" fmla="*/ 2263737 w 5085315"/>
              <a:gd name="connsiteY19" fmla="*/ 6858000 h 6858000"/>
              <a:gd name="connsiteX20" fmla="*/ 2285378 w 5085315"/>
              <a:gd name="connsiteY20" fmla="*/ 6756138 h 6858000"/>
              <a:gd name="connsiteX21" fmla="*/ 2321862 w 5085315"/>
              <a:gd name="connsiteY21" fmla="*/ 6569394 h 6858000"/>
              <a:gd name="connsiteX22" fmla="*/ 2972652 w 5085315"/>
              <a:gd name="connsiteY22" fmla="*/ 4339900 h 6858000"/>
              <a:gd name="connsiteX23" fmla="*/ 4522503 w 5085315"/>
              <a:gd name="connsiteY23" fmla="*/ 2897654 h 6858000"/>
              <a:gd name="connsiteX24" fmla="*/ 1417642 w 5085315"/>
              <a:gd name="connsiteY24" fmla="*/ 0 h 6858000"/>
              <a:gd name="connsiteX25" fmla="*/ 2906424 w 5085315"/>
              <a:gd name="connsiteY25" fmla="*/ 0 h 6858000"/>
              <a:gd name="connsiteX26" fmla="*/ 2822060 w 5085315"/>
              <a:gd name="connsiteY26" fmla="*/ 136046 h 6858000"/>
              <a:gd name="connsiteX27" fmla="*/ 1742174 w 5085315"/>
              <a:gd name="connsiteY27" fmla="*/ 3039465 h 6858000"/>
              <a:gd name="connsiteX28" fmla="*/ 1729178 w 5085315"/>
              <a:gd name="connsiteY28" fmla="*/ 3065843 h 6858000"/>
              <a:gd name="connsiteX29" fmla="*/ 1742367 w 5085315"/>
              <a:gd name="connsiteY29" fmla="*/ 3092217 h 6858000"/>
              <a:gd name="connsiteX30" fmla="*/ 1795116 w 5085315"/>
              <a:gd name="connsiteY30" fmla="*/ 3065650 h 6858000"/>
              <a:gd name="connsiteX31" fmla="*/ 4268983 w 5085315"/>
              <a:gd name="connsiteY31" fmla="*/ 242203 h 6858000"/>
              <a:gd name="connsiteX32" fmla="*/ 4406439 w 5085315"/>
              <a:gd name="connsiteY32" fmla="*/ 0 h 6858000"/>
              <a:gd name="connsiteX33" fmla="*/ 5085313 w 5085315"/>
              <a:gd name="connsiteY33" fmla="*/ 0 h 6858000"/>
              <a:gd name="connsiteX34" fmla="*/ 5085313 w 5085315"/>
              <a:gd name="connsiteY34" fmla="*/ 147240 h 6858000"/>
              <a:gd name="connsiteX35" fmla="*/ 4933297 w 5085315"/>
              <a:gd name="connsiteY35" fmla="*/ 379343 h 6858000"/>
              <a:gd name="connsiteX36" fmla="*/ 4738475 w 5085315"/>
              <a:gd name="connsiteY36" fmla="*/ 656307 h 6858000"/>
              <a:gd name="connsiteX37" fmla="*/ 1626733 w 5085315"/>
              <a:gd name="connsiteY37" fmla="*/ 3817358 h 6858000"/>
              <a:gd name="connsiteX38" fmla="*/ 1521803 w 5085315"/>
              <a:gd name="connsiteY38" fmla="*/ 3975995 h 6858000"/>
              <a:gd name="connsiteX39" fmla="*/ 1318255 w 5085315"/>
              <a:gd name="connsiteY39" fmla="*/ 5966770 h 6858000"/>
              <a:gd name="connsiteX40" fmla="*/ 1387180 w 5085315"/>
              <a:gd name="connsiteY40" fmla="*/ 6814873 h 6858000"/>
              <a:gd name="connsiteX41" fmla="*/ 1397207 w 5085315"/>
              <a:gd name="connsiteY41" fmla="*/ 6858000 h 6858000"/>
              <a:gd name="connsiteX42" fmla="*/ 67384 w 5085315"/>
              <a:gd name="connsiteY42" fmla="*/ 6858000 h 6858000"/>
              <a:gd name="connsiteX43" fmla="*/ 61202 w 5085315"/>
              <a:gd name="connsiteY43" fmla="*/ 6821267 h 6858000"/>
              <a:gd name="connsiteX44" fmla="*/ 56 w 5085315"/>
              <a:gd name="connsiteY44" fmla="*/ 5918991 h 6858000"/>
              <a:gd name="connsiteX45" fmla="*/ 1075340 w 5085315"/>
              <a:gd name="connsiteY45" fmla="*/ 801561 h 6858000"/>
              <a:gd name="connsiteX46" fmla="*/ 1251555 w 5085315"/>
              <a:gd name="connsiteY46" fmla="*/ 35855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5085315" h="6858000">
                <a:moveTo>
                  <a:pt x="5085315" y="6391986"/>
                </a:moveTo>
                <a:lnTo>
                  <a:pt x="5085315" y="6858000"/>
                </a:lnTo>
                <a:lnTo>
                  <a:pt x="4995141" y="6858000"/>
                </a:lnTo>
                <a:lnTo>
                  <a:pt x="5040631" y="6604731"/>
                </a:lnTo>
                <a:close/>
                <a:moveTo>
                  <a:pt x="4522503" y="2897654"/>
                </a:moveTo>
                <a:cubicBezTo>
                  <a:pt x="4754791" y="2896795"/>
                  <a:pt x="4937387" y="2990650"/>
                  <a:pt x="5075033" y="3148611"/>
                </a:cubicBezTo>
                <a:lnTo>
                  <a:pt x="5085313" y="3161904"/>
                </a:lnTo>
                <a:lnTo>
                  <a:pt x="5085313" y="6391986"/>
                </a:lnTo>
                <a:lnTo>
                  <a:pt x="5040629" y="6604731"/>
                </a:lnTo>
                <a:lnTo>
                  <a:pt x="4995139" y="6858000"/>
                </a:lnTo>
                <a:lnTo>
                  <a:pt x="3676442" y="6858000"/>
                </a:lnTo>
                <a:lnTo>
                  <a:pt x="3694783" y="6740622"/>
                </a:lnTo>
                <a:cubicBezTo>
                  <a:pt x="3770565" y="6297183"/>
                  <a:pt x="3867799" y="5865188"/>
                  <a:pt x="3951991" y="5456270"/>
                </a:cubicBezTo>
                <a:cubicBezTo>
                  <a:pt x="4081193" y="4770508"/>
                  <a:pt x="4145987" y="4427625"/>
                  <a:pt x="4182873" y="3742052"/>
                </a:cubicBezTo>
                <a:cubicBezTo>
                  <a:pt x="4182683" y="3689493"/>
                  <a:pt x="4182491" y="3649929"/>
                  <a:pt x="4156305" y="3649929"/>
                </a:cubicBezTo>
                <a:cubicBezTo>
                  <a:pt x="4130125" y="3649929"/>
                  <a:pt x="4103557" y="3676304"/>
                  <a:pt x="4064183" y="3716250"/>
                </a:cubicBezTo>
                <a:cubicBezTo>
                  <a:pt x="3538966" y="4297851"/>
                  <a:pt x="3225519" y="5010752"/>
                  <a:pt x="3030951" y="5854962"/>
                </a:cubicBezTo>
                <a:cubicBezTo>
                  <a:pt x="2988712" y="6026451"/>
                  <a:pt x="2952255" y="6199564"/>
                  <a:pt x="2916631" y="6372674"/>
                </a:cubicBezTo>
                <a:lnTo>
                  <a:pt x="2814144" y="6858000"/>
                </a:lnTo>
                <a:lnTo>
                  <a:pt x="2263737" y="6858000"/>
                </a:lnTo>
                <a:lnTo>
                  <a:pt x="2285378" y="6756138"/>
                </a:lnTo>
                <a:cubicBezTo>
                  <a:pt x="2298405" y="6691588"/>
                  <a:pt x="2310538" y="6628740"/>
                  <a:pt x="2321862" y="6569394"/>
                </a:cubicBezTo>
                <a:cubicBezTo>
                  <a:pt x="2437686" y="5804698"/>
                  <a:pt x="2645821" y="5052801"/>
                  <a:pt x="2972652" y="4339900"/>
                </a:cubicBezTo>
                <a:cubicBezTo>
                  <a:pt x="3260104" y="3653562"/>
                  <a:pt x="3784559" y="2926706"/>
                  <a:pt x="4522503" y="2897654"/>
                </a:cubicBezTo>
                <a:close/>
                <a:moveTo>
                  <a:pt x="1417642" y="0"/>
                </a:moveTo>
                <a:lnTo>
                  <a:pt x="2906424" y="0"/>
                </a:lnTo>
                <a:lnTo>
                  <a:pt x="2822060" y="136046"/>
                </a:lnTo>
                <a:cubicBezTo>
                  <a:pt x="2292139" y="1036744"/>
                  <a:pt x="1992359" y="2060012"/>
                  <a:pt x="1742174" y="3039465"/>
                </a:cubicBezTo>
                <a:lnTo>
                  <a:pt x="1729178" y="3065843"/>
                </a:lnTo>
                <a:lnTo>
                  <a:pt x="1742367" y="3092217"/>
                </a:lnTo>
                <a:cubicBezTo>
                  <a:pt x="1768742" y="3092217"/>
                  <a:pt x="1781737" y="3079028"/>
                  <a:pt x="1795116" y="3065650"/>
                </a:cubicBezTo>
                <a:cubicBezTo>
                  <a:pt x="2748866" y="2162742"/>
                  <a:pt x="3612326" y="1350999"/>
                  <a:pt x="4268983" y="242203"/>
                </a:cubicBezTo>
                <a:lnTo>
                  <a:pt x="4406439" y="0"/>
                </a:lnTo>
                <a:lnTo>
                  <a:pt x="5085313" y="0"/>
                </a:lnTo>
                <a:lnTo>
                  <a:pt x="5085313" y="147240"/>
                </a:lnTo>
                <a:lnTo>
                  <a:pt x="4933297" y="379343"/>
                </a:lnTo>
                <a:cubicBezTo>
                  <a:pt x="4872279" y="468629"/>
                  <a:pt x="4807329" y="560505"/>
                  <a:pt x="4738475" y="656307"/>
                </a:cubicBezTo>
                <a:cubicBezTo>
                  <a:pt x="3754741" y="1951382"/>
                  <a:pt x="2690548" y="2877969"/>
                  <a:pt x="1626733" y="3817358"/>
                </a:cubicBezTo>
                <a:cubicBezTo>
                  <a:pt x="1560795" y="3857304"/>
                  <a:pt x="1534803" y="3910053"/>
                  <a:pt x="1521803" y="3975995"/>
                </a:cubicBezTo>
                <a:cubicBezTo>
                  <a:pt x="1392412" y="4635571"/>
                  <a:pt x="1315770" y="5307765"/>
                  <a:pt x="1318255" y="5966770"/>
                </a:cubicBezTo>
                <a:cubicBezTo>
                  <a:pt x="1326092" y="6315960"/>
                  <a:pt x="1340187" y="6572882"/>
                  <a:pt x="1387180" y="6814873"/>
                </a:cubicBezTo>
                <a:lnTo>
                  <a:pt x="1397207" y="6858000"/>
                </a:lnTo>
                <a:lnTo>
                  <a:pt x="67384" y="6858000"/>
                </a:lnTo>
                <a:lnTo>
                  <a:pt x="61202" y="6821267"/>
                </a:lnTo>
                <a:cubicBezTo>
                  <a:pt x="15016" y="6506340"/>
                  <a:pt x="1013" y="6190809"/>
                  <a:pt x="56" y="5918991"/>
                </a:cubicBezTo>
                <a:cubicBezTo>
                  <a:pt x="-6251" y="4179350"/>
                  <a:pt x="514000" y="2306117"/>
                  <a:pt x="1075340" y="801561"/>
                </a:cubicBezTo>
                <a:cubicBezTo>
                  <a:pt x="1129166" y="654752"/>
                  <a:pt x="1187929" y="506688"/>
                  <a:pt x="1251555" y="358554"/>
                </a:cubicBezTo>
                <a:close/>
              </a:path>
            </a:pathLst>
          </a:custGeom>
          <a:solidFill>
            <a:srgbClr val="58A0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DE5F25C-DB68-C2FE-197B-63ADE36EC90E}"/>
              </a:ext>
            </a:extLst>
          </p:cNvPr>
          <p:cNvCxnSpPr>
            <a:cxnSpLocks/>
          </p:cNvCxnSpPr>
          <p:nvPr userDrawn="1"/>
        </p:nvCxnSpPr>
        <p:spPr>
          <a:xfrm>
            <a:off x="0" y="4085203"/>
            <a:ext cx="7000240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B335E10-390F-7CA7-891C-E957E5860526}"/>
              </a:ext>
            </a:extLst>
          </p:cNvPr>
          <p:cNvCxnSpPr>
            <a:cxnSpLocks/>
          </p:cNvCxnSpPr>
          <p:nvPr userDrawn="1"/>
        </p:nvCxnSpPr>
        <p:spPr>
          <a:xfrm>
            <a:off x="527650" y="4085203"/>
            <a:ext cx="1019210" cy="0"/>
          </a:xfrm>
          <a:prstGeom prst="line">
            <a:avLst/>
          </a:prstGeom>
          <a:ln w="381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B0183B35-E8E5-D8B1-512C-F1D1BCA30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7650" y="604491"/>
            <a:ext cx="1910750" cy="456671"/>
          </a:xfrm>
          <a:prstGeom prst="rect">
            <a:avLst/>
          </a:prstGeom>
        </p:spPr>
      </p:pic>
      <p:sp>
        <p:nvSpPr>
          <p:cNvPr id="18" name="Subtitle 2">
            <a:extLst>
              <a:ext uri="{FF2B5EF4-FFF2-40B4-BE49-F238E27FC236}">
                <a16:creationId xmlns:a16="http://schemas.microsoft.com/office/drawing/2014/main" id="{1887BD83-EA65-BC96-110C-A4982ED040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330" y="4223522"/>
            <a:ext cx="8556842" cy="1300978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PK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0B388D60-E8E6-C03C-7C74-F951BA7D47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7330" y="3075057"/>
            <a:ext cx="8556842" cy="1115890"/>
          </a:xfrm>
          <a:prstGeom prst="rect">
            <a:avLst/>
          </a:prstGeom>
        </p:spPr>
        <p:txBody>
          <a:bodyPr lIns="0" tIns="46800" rIns="0" anchor="t">
            <a:noAutofit/>
          </a:bodyPr>
          <a:lstStyle>
            <a:lvl1pPr algn="l">
              <a:lnSpc>
                <a:spcPct val="100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2611708968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8343792-E0B7-0403-490F-1CA46DEC27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177A3"/>
              </a:gs>
              <a:gs pos="100000">
                <a:srgbClr val="1C609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66A639F-7E97-2DEE-9FB5-DF6AA13FA9D2}"/>
              </a:ext>
            </a:extLst>
          </p:cNvPr>
          <p:cNvCxnSpPr>
            <a:cxnSpLocks/>
          </p:cNvCxnSpPr>
          <p:nvPr userDrawn="1"/>
        </p:nvCxnSpPr>
        <p:spPr>
          <a:xfrm>
            <a:off x="0" y="4965692"/>
            <a:ext cx="6249500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82DB989-03F8-3CE1-04EA-15CC1909D25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687006" y="3350"/>
            <a:ext cx="8502795" cy="6224845"/>
          </a:xfrm>
          <a:custGeom>
            <a:avLst/>
            <a:gdLst>
              <a:gd name="connsiteX0" fmla="*/ 47748 w 8502795"/>
              <a:gd name="connsiteY0" fmla="*/ 0 h 6224845"/>
              <a:gd name="connsiteX1" fmla="*/ 2626538 w 8502795"/>
              <a:gd name="connsiteY1" fmla="*/ 0 h 6224845"/>
              <a:gd name="connsiteX2" fmla="*/ 8502674 w 8502795"/>
              <a:gd name="connsiteY2" fmla="*/ 0 h 6224845"/>
              <a:gd name="connsiteX3" fmla="*/ 8502795 w 8502795"/>
              <a:gd name="connsiteY3" fmla="*/ 0 h 6224845"/>
              <a:gd name="connsiteX4" fmla="*/ 8502795 w 8502795"/>
              <a:gd name="connsiteY4" fmla="*/ 6224845 h 6224845"/>
              <a:gd name="connsiteX5" fmla="*/ 4030907 w 8502795"/>
              <a:gd name="connsiteY5" fmla="*/ 5681498 h 6224845"/>
              <a:gd name="connsiteX6" fmla="*/ 47748 w 8502795"/>
              <a:gd name="connsiteY6" fmla="*/ 0 h 6224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02795" h="6224845">
                <a:moveTo>
                  <a:pt x="47748" y="0"/>
                </a:moveTo>
                <a:lnTo>
                  <a:pt x="2626538" y="0"/>
                </a:lnTo>
                <a:lnTo>
                  <a:pt x="8502674" y="0"/>
                </a:lnTo>
                <a:lnTo>
                  <a:pt x="8502795" y="0"/>
                </a:lnTo>
                <a:lnTo>
                  <a:pt x="8502795" y="6224845"/>
                </a:lnTo>
                <a:cubicBezTo>
                  <a:pt x="5881364" y="6224845"/>
                  <a:pt x="4030907" y="5681498"/>
                  <a:pt x="4030907" y="5681498"/>
                </a:cubicBezTo>
                <a:cubicBezTo>
                  <a:pt x="-734221" y="4044249"/>
                  <a:pt x="47748" y="0"/>
                  <a:pt x="4774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  <a:endParaRPr lang="en-US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0183B35-E8E5-D8B1-512C-F1D1BCA30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7650" y="604491"/>
            <a:ext cx="1910750" cy="456671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4D050A6-A76F-877C-7627-C3038D143096}"/>
              </a:ext>
            </a:extLst>
          </p:cNvPr>
          <p:cNvCxnSpPr>
            <a:cxnSpLocks/>
          </p:cNvCxnSpPr>
          <p:nvPr userDrawn="1"/>
        </p:nvCxnSpPr>
        <p:spPr>
          <a:xfrm>
            <a:off x="527650" y="4965692"/>
            <a:ext cx="1019210" cy="0"/>
          </a:xfrm>
          <a:prstGeom prst="line">
            <a:avLst/>
          </a:prstGeom>
          <a:ln w="381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reeform: Shape 4">
            <a:extLst>
              <a:ext uri="{FF2B5EF4-FFF2-40B4-BE49-F238E27FC236}">
                <a16:creationId xmlns:a16="http://schemas.microsoft.com/office/drawing/2014/main" id="{E35271DF-AEAF-5D97-DA2B-33C4C3DFCD89}"/>
              </a:ext>
            </a:extLst>
          </p:cNvPr>
          <p:cNvSpPr/>
          <p:nvPr userDrawn="1"/>
        </p:nvSpPr>
        <p:spPr>
          <a:xfrm>
            <a:off x="3689205" y="0"/>
            <a:ext cx="8502795" cy="6224845"/>
          </a:xfrm>
          <a:custGeom>
            <a:avLst/>
            <a:gdLst>
              <a:gd name="connsiteX0" fmla="*/ 47747 w 8502795"/>
              <a:gd name="connsiteY0" fmla="*/ 0 h 6224845"/>
              <a:gd name="connsiteX1" fmla="*/ 2626537 w 8502795"/>
              <a:gd name="connsiteY1" fmla="*/ 0 h 6224845"/>
              <a:gd name="connsiteX2" fmla="*/ 4816419 w 8502795"/>
              <a:gd name="connsiteY2" fmla="*/ 5020612 h 6224845"/>
              <a:gd name="connsiteX3" fmla="*/ 8502673 w 8502795"/>
              <a:gd name="connsiteY3" fmla="*/ 5778634 h 6224845"/>
              <a:gd name="connsiteX4" fmla="*/ 8502673 w 8502795"/>
              <a:gd name="connsiteY4" fmla="*/ 0 h 6224845"/>
              <a:gd name="connsiteX5" fmla="*/ 8502795 w 8502795"/>
              <a:gd name="connsiteY5" fmla="*/ 0 h 6224845"/>
              <a:gd name="connsiteX6" fmla="*/ 8502795 w 8502795"/>
              <a:gd name="connsiteY6" fmla="*/ 6224845 h 6224845"/>
              <a:gd name="connsiteX7" fmla="*/ 4030906 w 8502795"/>
              <a:gd name="connsiteY7" fmla="*/ 5681498 h 6224845"/>
              <a:gd name="connsiteX8" fmla="*/ 47747 w 8502795"/>
              <a:gd name="connsiteY8" fmla="*/ 0 h 6224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02795" h="6224845">
                <a:moveTo>
                  <a:pt x="47747" y="0"/>
                </a:moveTo>
                <a:lnTo>
                  <a:pt x="2626537" y="0"/>
                </a:lnTo>
                <a:cubicBezTo>
                  <a:pt x="2626537" y="0"/>
                  <a:pt x="1971393" y="3691752"/>
                  <a:pt x="4816419" y="5020612"/>
                </a:cubicBezTo>
                <a:cubicBezTo>
                  <a:pt x="4816419" y="5020612"/>
                  <a:pt x="6555079" y="5834837"/>
                  <a:pt x="8502673" y="5778634"/>
                </a:cubicBezTo>
                <a:lnTo>
                  <a:pt x="8502673" y="0"/>
                </a:lnTo>
                <a:lnTo>
                  <a:pt x="8502795" y="0"/>
                </a:lnTo>
                <a:lnTo>
                  <a:pt x="8502795" y="6224845"/>
                </a:lnTo>
                <a:cubicBezTo>
                  <a:pt x="5881363" y="6224845"/>
                  <a:pt x="4030906" y="5681498"/>
                  <a:pt x="4030906" y="5681498"/>
                </a:cubicBezTo>
                <a:cubicBezTo>
                  <a:pt x="-734222" y="4044249"/>
                  <a:pt x="47747" y="0"/>
                  <a:pt x="47747" y="0"/>
                </a:cubicBezTo>
                <a:close/>
              </a:path>
            </a:pathLst>
          </a:custGeom>
          <a:solidFill>
            <a:srgbClr val="0079A8">
              <a:alpha val="56000"/>
            </a:srgbClr>
          </a:solidFill>
          <a:ln w="1220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9662F990-D2CF-3319-EEAD-A8658307D2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916" y="3429000"/>
            <a:ext cx="8570188" cy="1584561"/>
          </a:xfrm>
          <a:prstGeom prst="rect">
            <a:avLst/>
          </a:prstGeom>
        </p:spPr>
        <p:txBody>
          <a:bodyPr lIns="0" anchor="b">
            <a:noAutofit/>
          </a:bodyPr>
          <a:lstStyle>
            <a:lvl1pPr algn="l">
              <a:lnSpc>
                <a:spcPct val="60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2B2B2459-60BA-9383-547A-159C9B9623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16" y="5104011"/>
            <a:ext cx="8548255" cy="1300978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2136482400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5963F76-9109-6F65-6235-1DE7A2E012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177A3"/>
              </a:gs>
              <a:gs pos="100000">
                <a:srgbClr val="1C609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0E0D1636-63D9-AE84-54BF-7E9D45D07715}"/>
              </a:ext>
            </a:extLst>
          </p:cNvPr>
          <p:cNvSpPr/>
          <p:nvPr userDrawn="1"/>
        </p:nvSpPr>
        <p:spPr>
          <a:xfrm>
            <a:off x="7106685" y="0"/>
            <a:ext cx="5085315" cy="6858000"/>
          </a:xfrm>
          <a:custGeom>
            <a:avLst/>
            <a:gdLst>
              <a:gd name="connsiteX0" fmla="*/ 5085315 w 5085315"/>
              <a:gd name="connsiteY0" fmla="*/ 6391986 h 6858000"/>
              <a:gd name="connsiteX1" fmla="*/ 5085315 w 5085315"/>
              <a:gd name="connsiteY1" fmla="*/ 6858000 h 6858000"/>
              <a:gd name="connsiteX2" fmla="*/ 4995141 w 5085315"/>
              <a:gd name="connsiteY2" fmla="*/ 6858000 h 6858000"/>
              <a:gd name="connsiteX3" fmla="*/ 5040631 w 5085315"/>
              <a:gd name="connsiteY3" fmla="*/ 6604731 h 6858000"/>
              <a:gd name="connsiteX4" fmla="*/ 4522503 w 5085315"/>
              <a:gd name="connsiteY4" fmla="*/ 2897654 h 6858000"/>
              <a:gd name="connsiteX5" fmla="*/ 5075033 w 5085315"/>
              <a:gd name="connsiteY5" fmla="*/ 3148611 h 6858000"/>
              <a:gd name="connsiteX6" fmla="*/ 5085313 w 5085315"/>
              <a:gd name="connsiteY6" fmla="*/ 3161904 h 6858000"/>
              <a:gd name="connsiteX7" fmla="*/ 5085313 w 5085315"/>
              <a:gd name="connsiteY7" fmla="*/ 6391986 h 6858000"/>
              <a:gd name="connsiteX8" fmla="*/ 5040629 w 5085315"/>
              <a:gd name="connsiteY8" fmla="*/ 6604731 h 6858000"/>
              <a:gd name="connsiteX9" fmla="*/ 4995139 w 5085315"/>
              <a:gd name="connsiteY9" fmla="*/ 6858000 h 6858000"/>
              <a:gd name="connsiteX10" fmla="*/ 3676442 w 5085315"/>
              <a:gd name="connsiteY10" fmla="*/ 6858000 h 6858000"/>
              <a:gd name="connsiteX11" fmla="*/ 3694783 w 5085315"/>
              <a:gd name="connsiteY11" fmla="*/ 6740622 h 6858000"/>
              <a:gd name="connsiteX12" fmla="*/ 3951991 w 5085315"/>
              <a:gd name="connsiteY12" fmla="*/ 5456270 h 6858000"/>
              <a:gd name="connsiteX13" fmla="*/ 4182873 w 5085315"/>
              <a:gd name="connsiteY13" fmla="*/ 3742052 h 6858000"/>
              <a:gd name="connsiteX14" fmla="*/ 4156305 w 5085315"/>
              <a:gd name="connsiteY14" fmla="*/ 3649929 h 6858000"/>
              <a:gd name="connsiteX15" fmla="*/ 4064183 w 5085315"/>
              <a:gd name="connsiteY15" fmla="*/ 3716250 h 6858000"/>
              <a:gd name="connsiteX16" fmla="*/ 3030951 w 5085315"/>
              <a:gd name="connsiteY16" fmla="*/ 5854962 h 6858000"/>
              <a:gd name="connsiteX17" fmla="*/ 2916631 w 5085315"/>
              <a:gd name="connsiteY17" fmla="*/ 6372674 h 6858000"/>
              <a:gd name="connsiteX18" fmla="*/ 2814144 w 5085315"/>
              <a:gd name="connsiteY18" fmla="*/ 6858000 h 6858000"/>
              <a:gd name="connsiteX19" fmla="*/ 2263737 w 5085315"/>
              <a:gd name="connsiteY19" fmla="*/ 6858000 h 6858000"/>
              <a:gd name="connsiteX20" fmla="*/ 2285378 w 5085315"/>
              <a:gd name="connsiteY20" fmla="*/ 6756138 h 6858000"/>
              <a:gd name="connsiteX21" fmla="*/ 2321862 w 5085315"/>
              <a:gd name="connsiteY21" fmla="*/ 6569394 h 6858000"/>
              <a:gd name="connsiteX22" fmla="*/ 2972652 w 5085315"/>
              <a:gd name="connsiteY22" fmla="*/ 4339900 h 6858000"/>
              <a:gd name="connsiteX23" fmla="*/ 4522503 w 5085315"/>
              <a:gd name="connsiteY23" fmla="*/ 2897654 h 6858000"/>
              <a:gd name="connsiteX24" fmla="*/ 1417642 w 5085315"/>
              <a:gd name="connsiteY24" fmla="*/ 0 h 6858000"/>
              <a:gd name="connsiteX25" fmla="*/ 2906424 w 5085315"/>
              <a:gd name="connsiteY25" fmla="*/ 0 h 6858000"/>
              <a:gd name="connsiteX26" fmla="*/ 2822060 w 5085315"/>
              <a:gd name="connsiteY26" fmla="*/ 136046 h 6858000"/>
              <a:gd name="connsiteX27" fmla="*/ 1742174 w 5085315"/>
              <a:gd name="connsiteY27" fmla="*/ 3039465 h 6858000"/>
              <a:gd name="connsiteX28" fmla="*/ 1729178 w 5085315"/>
              <a:gd name="connsiteY28" fmla="*/ 3065843 h 6858000"/>
              <a:gd name="connsiteX29" fmla="*/ 1742367 w 5085315"/>
              <a:gd name="connsiteY29" fmla="*/ 3092217 h 6858000"/>
              <a:gd name="connsiteX30" fmla="*/ 1795116 w 5085315"/>
              <a:gd name="connsiteY30" fmla="*/ 3065650 h 6858000"/>
              <a:gd name="connsiteX31" fmla="*/ 4268983 w 5085315"/>
              <a:gd name="connsiteY31" fmla="*/ 242203 h 6858000"/>
              <a:gd name="connsiteX32" fmla="*/ 4406439 w 5085315"/>
              <a:gd name="connsiteY32" fmla="*/ 0 h 6858000"/>
              <a:gd name="connsiteX33" fmla="*/ 5085313 w 5085315"/>
              <a:gd name="connsiteY33" fmla="*/ 0 h 6858000"/>
              <a:gd name="connsiteX34" fmla="*/ 5085313 w 5085315"/>
              <a:gd name="connsiteY34" fmla="*/ 147240 h 6858000"/>
              <a:gd name="connsiteX35" fmla="*/ 4933297 w 5085315"/>
              <a:gd name="connsiteY35" fmla="*/ 379343 h 6858000"/>
              <a:gd name="connsiteX36" fmla="*/ 4738475 w 5085315"/>
              <a:gd name="connsiteY36" fmla="*/ 656307 h 6858000"/>
              <a:gd name="connsiteX37" fmla="*/ 1626733 w 5085315"/>
              <a:gd name="connsiteY37" fmla="*/ 3817358 h 6858000"/>
              <a:gd name="connsiteX38" fmla="*/ 1521803 w 5085315"/>
              <a:gd name="connsiteY38" fmla="*/ 3975995 h 6858000"/>
              <a:gd name="connsiteX39" fmla="*/ 1318255 w 5085315"/>
              <a:gd name="connsiteY39" fmla="*/ 5966770 h 6858000"/>
              <a:gd name="connsiteX40" fmla="*/ 1387180 w 5085315"/>
              <a:gd name="connsiteY40" fmla="*/ 6814873 h 6858000"/>
              <a:gd name="connsiteX41" fmla="*/ 1397207 w 5085315"/>
              <a:gd name="connsiteY41" fmla="*/ 6858000 h 6858000"/>
              <a:gd name="connsiteX42" fmla="*/ 67384 w 5085315"/>
              <a:gd name="connsiteY42" fmla="*/ 6858000 h 6858000"/>
              <a:gd name="connsiteX43" fmla="*/ 61202 w 5085315"/>
              <a:gd name="connsiteY43" fmla="*/ 6821267 h 6858000"/>
              <a:gd name="connsiteX44" fmla="*/ 56 w 5085315"/>
              <a:gd name="connsiteY44" fmla="*/ 5918991 h 6858000"/>
              <a:gd name="connsiteX45" fmla="*/ 1075340 w 5085315"/>
              <a:gd name="connsiteY45" fmla="*/ 801561 h 6858000"/>
              <a:gd name="connsiteX46" fmla="*/ 1251555 w 5085315"/>
              <a:gd name="connsiteY46" fmla="*/ 35855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5085315" h="6858000">
                <a:moveTo>
                  <a:pt x="5085315" y="6391986"/>
                </a:moveTo>
                <a:lnTo>
                  <a:pt x="5085315" y="6858000"/>
                </a:lnTo>
                <a:lnTo>
                  <a:pt x="4995141" y="6858000"/>
                </a:lnTo>
                <a:lnTo>
                  <a:pt x="5040631" y="6604731"/>
                </a:lnTo>
                <a:close/>
                <a:moveTo>
                  <a:pt x="4522503" y="2897654"/>
                </a:moveTo>
                <a:cubicBezTo>
                  <a:pt x="4754791" y="2896795"/>
                  <a:pt x="4937387" y="2990650"/>
                  <a:pt x="5075033" y="3148611"/>
                </a:cubicBezTo>
                <a:lnTo>
                  <a:pt x="5085313" y="3161904"/>
                </a:lnTo>
                <a:lnTo>
                  <a:pt x="5085313" y="6391986"/>
                </a:lnTo>
                <a:lnTo>
                  <a:pt x="5040629" y="6604731"/>
                </a:lnTo>
                <a:lnTo>
                  <a:pt x="4995139" y="6858000"/>
                </a:lnTo>
                <a:lnTo>
                  <a:pt x="3676442" y="6858000"/>
                </a:lnTo>
                <a:lnTo>
                  <a:pt x="3694783" y="6740622"/>
                </a:lnTo>
                <a:cubicBezTo>
                  <a:pt x="3770565" y="6297183"/>
                  <a:pt x="3867799" y="5865188"/>
                  <a:pt x="3951991" y="5456270"/>
                </a:cubicBezTo>
                <a:cubicBezTo>
                  <a:pt x="4081193" y="4770508"/>
                  <a:pt x="4145987" y="4427625"/>
                  <a:pt x="4182873" y="3742052"/>
                </a:cubicBezTo>
                <a:cubicBezTo>
                  <a:pt x="4182683" y="3689493"/>
                  <a:pt x="4182491" y="3649929"/>
                  <a:pt x="4156305" y="3649929"/>
                </a:cubicBezTo>
                <a:cubicBezTo>
                  <a:pt x="4130125" y="3649929"/>
                  <a:pt x="4103557" y="3676304"/>
                  <a:pt x="4064183" y="3716250"/>
                </a:cubicBezTo>
                <a:cubicBezTo>
                  <a:pt x="3538966" y="4297851"/>
                  <a:pt x="3225519" y="5010752"/>
                  <a:pt x="3030951" y="5854962"/>
                </a:cubicBezTo>
                <a:cubicBezTo>
                  <a:pt x="2988712" y="6026451"/>
                  <a:pt x="2952255" y="6199564"/>
                  <a:pt x="2916631" y="6372674"/>
                </a:cubicBezTo>
                <a:lnTo>
                  <a:pt x="2814144" y="6858000"/>
                </a:lnTo>
                <a:lnTo>
                  <a:pt x="2263737" y="6858000"/>
                </a:lnTo>
                <a:lnTo>
                  <a:pt x="2285378" y="6756138"/>
                </a:lnTo>
                <a:cubicBezTo>
                  <a:pt x="2298405" y="6691588"/>
                  <a:pt x="2310538" y="6628740"/>
                  <a:pt x="2321862" y="6569394"/>
                </a:cubicBezTo>
                <a:cubicBezTo>
                  <a:pt x="2437686" y="5804698"/>
                  <a:pt x="2645821" y="5052801"/>
                  <a:pt x="2972652" y="4339900"/>
                </a:cubicBezTo>
                <a:cubicBezTo>
                  <a:pt x="3260104" y="3653562"/>
                  <a:pt x="3784559" y="2926706"/>
                  <a:pt x="4522503" y="2897654"/>
                </a:cubicBezTo>
                <a:close/>
                <a:moveTo>
                  <a:pt x="1417642" y="0"/>
                </a:moveTo>
                <a:lnTo>
                  <a:pt x="2906424" y="0"/>
                </a:lnTo>
                <a:lnTo>
                  <a:pt x="2822060" y="136046"/>
                </a:lnTo>
                <a:cubicBezTo>
                  <a:pt x="2292139" y="1036744"/>
                  <a:pt x="1992359" y="2060012"/>
                  <a:pt x="1742174" y="3039465"/>
                </a:cubicBezTo>
                <a:lnTo>
                  <a:pt x="1729178" y="3065843"/>
                </a:lnTo>
                <a:lnTo>
                  <a:pt x="1742367" y="3092217"/>
                </a:lnTo>
                <a:cubicBezTo>
                  <a:pt x="1768742" y="3092217"/>
                  <a:pt x="1781737" y="3079028"/>
                  <a:pt x="1795116" y="3065650"/>
                </a:cubicBezTo>
                <a:cubicBezTo>
                  <a:pt x="2748866" y="2162742"/>
                  <a:pt x="3612326" y="1350999"/>
                  <a:pt x="4268983" y="242203"/>
                </a:cubicBezTo>
                <a:lnTo>
                  <a:pt x="4406439" y="0"/>
                </a:lnTo>
                <a:lnTo>
                  <a:pt x="5085313" y="0"/>
                </a:lnTo>
                <a:lnTo>
                  <a:pt x="5085313" y="147240"/>
                </a:lnTo>
                <a:lnTo>
                  <a:pt x="4933297" y="379343"/>
                </a:lnTo>
                <a:cubicBezTo>
                  <a:pt x="4872279" y="468629"/>
                  <a:pt x="4807329" y="560505"/>
                  <a:pt x="4738475" y="656307"/>
                </a:cubicBezTo>
                <a:cubicBezTo>
                  <a:pt x="3754741" y="1951382"/>
                  <a:pt x="2690548" y="2877969"/>
                  <a:pt x="1626733" y="3817358"/>
                </a:cubicBezTo>
                <a:cubicBezTo>
                  <a:pt x="1560795" y="3857304"/>
                  <a:pt x="1534803" y="3910053"/>
                  <a:pt x="1521803" y="3975995"/>
                </a:cubicBezTo>
                <a:cubicBezTo>
                  <a:pt x="1392412" y="4635571"/>
                  <a:pt x="1315770" y="5307765"/>
                  <a:pt x="1318255" y="5966770"/>
                </a:cubicBezTo>
                <a:cubicBezTo>
                  <a:pt x="1326092" y="6315960"/>
                  <a:pt x="1340187" y="6572882"/>
                  <a:pt x="1387180" y="6814873"/>
                </a:cubicBezTo>
                <a:lnTo>
                  <a:pt x="1397207" y="6858000"/>
                </a:lnTo>
                <a:lnTo>
                  <a:pt x="67384" y="6858000"/>
                </a:lnTo>
                <a:lnTo>
                  <a:pt x="61202" y="6821267"/>
                </a:lnTo>
                <a:cubicBezTo>
                  <a:pt x="15016" y="6506340"/>
                  <a:pt x="1013" y="6190809"/>
                  <a:pt x="56" y="5918991"/>
                </a:cubicBezTo>
                <a:cubicBezTo>
                  <a:pt x="-6251" y="4179350"/>
                  <a:pt x="514000" y="2306117"/>
                  <a:pt x="1075340" y="801561"/>
                </a:cubicBezTo>
                <a:cubicBezTo>
                  <a:pt x="1129166" y="654752"/>
                  <a:pt x="1187929" y="506688"/>
                  <a:pt x="1251555" y="358554"/>
                </a:cubicBezTo>
                <a:close/>
              </a:path>
            </a:pathLst>
          </a:custGeom>
          <a:solidFill>
            <a:srgbClr val="58A0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DE5F25C-DB68-C2FE-197B-63ADE36EC90E}"/>
              </a:ext>
            </a:extLst>
          </p:cNvPr>
          <p:cNvCxnSpPr>
            <a:cxnSpLocks/>
          </p:cNvCxnSpPr>
          <p:nvPr userDrawn="1"/>
        </p:nvCxnSpPr>
        <p:spPr>
          <a:xfrm>
            <a:off x="0" y="4085203"/>
            <a:ext cx="7000240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B335E10-390F-7CA7-891C-E957E5860526}"/>
              </a:ext>
            </a:extLst>
          </p:cNvPr>
          <p:cNvCxnSpPr>
            <a:cxnSpLocks/>
          </p:cNvCxnSpPr>
          <p:nvPr userDrawn="1"/>
        </p:nvCxnSpPr>
        <p:spPr>
          <a:xfrm>
            <a:off x="527650" y="4085203"/>
            <a:ext cx="1019210" cy="0"/>
          </a:xfrm>
          <a:prstGeom prst="line">
            <a:avLst/>
          </a:prstGeom>
          <a:ln w="381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B0183B35-E8E5-D8B1-512C-F1D1BCA30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7650" y="604491"/>
            <a:ext cx="1910750" cy="456671"/>
          </a:xfrm>
          <a:prstGeom prst="rect">
            <a:avLst/>
          </a:prstGeom>
        </p:spPr>
      </p:pic>
      <p:sp>
        <p:nvSpPr>
          <p:cNvPr id="18" name="Subtitle 2">
            <a:extLst>
              <a:ext uri="{FF2B5EF4-FFF2-40B4-BE49-F238E27FC236}">
                <a16:creationId xmlns:a16="http://schemas.microsoft.com/office/drawing/2014/main" id="{1887BD83-EA65-BC96-110C-A4982ED040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330" y="4223522"/>
            <a:ext cx="8556842" cy="1300978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PK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0B388D60-E8E6-C03C-7C74-F951BA7D47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7330" y="3075057"/>
            <a:ext cx="8556842" cy="1115890"/>
          </a:xfrm>
          <a:prstGeom prst="rect">
            <a:avLst/>
          </a:prstGeom>
        </p:spPr>
        <p:txBody>
          <a:bodyPr lIns="0" tIns="46800" rIns="0" anchor="t">
            <a:noAutofit/>
          </a:bodyPr>
          <a:lstStyle>
            <a:lvl1pPr algn="l">
              <a:lnSpc>
                <a:spcPct val="100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408183930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8343792-E0B7-0403-490F-1CA46DEC27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177A3"/>
              </a:gs>
              <a:gs pos="100000">
                <a:srgbClr val="1C609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66A639F-7E97-2DEE-9FB5-DF6AA13FA9D2}"/>
              </a:ext>
            </a:extLst>
          </p:cNvPr>
          <p:cNvCxnSpPr>
            <a:cxnSpLocks/>
          </p:cNvCxnSpPr>
          <p:nvPr userDrawn="1"/>
        </p:nvCxnSpPr>
        <p:spPr>
          <a:xfrm>
            <a:off x="0" y="4965692"/>
            <a:ext cx="6249500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82DB989-03F8-3CE1-04EA-15CC1909D25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687006" y="3350"/>
            <a:ext cx="8502795" cy="6224845"/>
          </a:xfrm>
          <a:custGeom>
            <a:avLst/>
            <a:gdLst>
              <a:gd name="connsiteX0" fmla="*/ 47748 w 8502795"/>
              <a:gd name="connsiteY0" fmla="*/ 0 h 6224845"/>
              <a:gd name="connsiteX1" fmla="*/ 2626538 w 8502795"/>
              <a:gd name="connsiteY1" fmla="*/ 0 h 6224845"/>
              <a:gd name="connsiteX2" fmla="*/ 8502674 w 8502795"/>
              <a:gd name="connsiteY2" fmla="*/ 0 h 6224845"/>
              <a:gd name="connsiteX3" fmla="*/ 8502795 w 8502795"/>
              <a:gd name="connsiteY3" fmla="*/ 0 h 6224845"/>
              <a:gd name="connsiteX4" fmla="*/ 8502795 w 8502795"/>
              <a:gd name="connsiteY4" fmla="*/ 6224845 h 6224845"/>
              <a:gd name="connsiteX5" fmla="*/ 4030907 w 8502795"/>
              <a:gd name="connsiteY5" fmla="*/ 5681498 h 6224845"/>
              <a:gd name="connsiteX6" fmla="*/ 47748 w 8502795"/>
              <a:gd name="connsiteY6" fmla="*/ 0 h 6224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02795" h="6224845">
                <a:moveTo>
                  <a:pt x="47748" y="0"/>
                </a:moveTo>
                <a:lnTo>
                  <a:pt x="2626538" y="0"/>
                </a:lnTo>
                <a:lnTo>
                  <a:pt x="8502674" y="0"/>
                </a:lnTo>
                <a:lnTo>
                  <a:pt x="8502795" y="0"/>
                </a:lnTo>
                <a:lnTo>
                  <a:pt x="8502795" y="6224845"/>
                </a:lnTo>
                <a:cubicBezTo>
                  <a:pt x="5881364" y="6224845"/>
                  <a:pt x="4030907" y="5681498"/>
                  <a:pt x="4030907" y="5681498"/>
                </a:cubicBezTo>
                <a:cubicBezTo>
                  <a:pt x="-734221" y="4044249"/>
                  <a:pt x="47748" y="0"/>
                  <a:pt x="4774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  <a:endParaRPr lang="en-US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0183B35-E8E5-D8B1-512C-F1D1BCA30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7650" y="604491"/>
            <a:ext cx="1910750" cy="456671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4D050A6-A76F-877C-7627-C3038D143096}"/>
              </a:ext>
            </a:extLst>
          </p:cNvPr>
          <p:cNvCxnSpPr>
            <a:cxnSpLocks/>
          </p:cNvCxnSpPr>
          <p:nvPr userDrawn="1"/>
        </p:nvCxnSpPr>
        <p:spPr>
          <a:xfrm>
            <a:off x="527650" y="4965692"/>
            <a:ext cx="1019210" cy="0"/>
          </a:xfrm>
          <a:prstGeom prst="line">
            <a:avLst/>
          </a:prstGeom>
          <a:ln w="381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reeform: Shape 4">
            <a:extLst>
              <a:ext uri="{FF2B5EF4-FFF2-40B4-BE49-F238E27FC236}">
                <a16:creationId xmlns:a16="http://schemas.microsoft.com/office/drawing/2014/main" id="{E35271DF-AEAF-5D97-DA2B-33C4C3DFCD89}"/>
              </a:ext>
            </a:extLst>
          </p:cNvPr>
          <p:cNvSpPr/>
          <p:nvPr userDrawn="1"/>
        </p:nvSpPr>
        <p:spPr>
          <a:xfrm>
            <a:off x="3689205" y="0"/>
            <a:ext cx="8502795" cy="6224845"/>
          </a:xfrm>
          <a:custGeom>
            <a:avLst/>
            <a:gdLst>
              <a:gd name="connsiteX0" fmla="*/ 47747 w 8502795"/>
              <a:gd name="connsiteY0" fmla="*/ 0 h 6224845"/>
              <a:gd name="connsiteX1" fmla="*/ 2626537 w 8502795"/>
              <a:gd name="connsiteY1" fmla="*/ 0 h 6224845"/>
              <a:gd name="connsiteX2" fmla="*/ 4816419 w 8502795"/>
              <a:gd name="connsiteY2" fmla="*/ 5020612 h 6224845"/>
              <a:gd name="connsiteX3" fmla="*/ 8502673 w 8502795"/>
              <a:gd name="connsiteY3" fmla="*/ 5778634 h 6224845"/>
              <a:gd name="connsiteX4" fmla="*/ 8502673 w 8502795"/>
              <a:gd name="connsiteY4" fmla="*/ 0 h 6224845"/>
              <a:gd name="connsiteX5" fmla="*/ 8502795 w 8502795"/>
              <a:gd name="connsiteY5" fmla="*/ 0 h 6224845"/>
              <a:gd name="connsiteX6" fmla="*/ 8502795 w 8502795"/>
              <a:gd name="connsiteY6" fmla="*/ 6224845 h 6224845"/>
              <a:gd name="connsiteX7" fmla="*/ 4030906 w 8502795"/>
              <a:gd name="connsiteY7" fmla="*/ 5681498 h 6224845"/>
              <a:gd name="connsiteX8" fmla="*/ 47747 w 8502795"/>
              <a:gd name="connsiteY8" fmla="*/ 0 h 6224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02795" h="6224845">
                <a:moveTo>
                  <a:pt x="47747" y="0"/>
                </a:moveTo>
                <a:lnTo>
                  <a:pt x="2626537" y="0"/>
                </a:lnTo>
                <a:cubicBezTo>
                  <a:pt x="2626537" y="0"/>
                  <a:pt x="1971393" y="3691752"/>
                  <a:pt x="4816419" y="5020612"/>
                </a:cubicBezTo>
                <a:cubicBezTo>
                  <a:pt x="4816419" y="5020612"/>
                  <a:pt x="6555079" y="5834837"/>
                  <a:pt x="8502673" y="5778634"/>
                </a:cubicBezTo>
                <a:lnTo>
                  <a:pt x="8502673" y="0"/>
                </a:lnTo>
                <a:lnTo>
                  <a:pt x="8502795" y="0"/>
                </a:lnTo>
                <a:lnTo>
                  <a:pt x="8502795" y="6224845"/>
                </a:lnTo>
                <a:cubicBezTo>
                  <a:pt x="5881363" y="6224845"/>
                  <a:pt x="4030906" y="5681498"/>
                  <a:pt x="4030906" y="5681498"/>
                </a:cubicBezTo>
                <a:cubicBezTo>
                  <a:pt x="-734222" y="4044249"/>
                  <a:pt x="47747" y="0"/>
                  <a:pt x="47747" y="0"/>
                </a:cubicBezTo>
                <a:close/>
              </a:path>
            </a:pathLst>
          </a:custGeom>
          <a:solidFill>
            <a:srgbClr val="0079A8">
              <a:alpha val="56000"/>
            </a:srgbClr>
          </a:solidFill>
          <a:ln w="1220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9662F990-D2CF-3319-EEAD-A8658307D2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916" y="3429000"/>
            <a:ext cx="8570188" cy="1584561"/>
          </a:xfrm>
          <a:prstGeom prst="rect">
            <a:avLst/>
          </a:prstGeom>
        </p:spPr>
        <p:txBody>
          <a:bodyPr lIns="0" anchor="b">
            <a:noAutofit/>
          </a:bodyPr>
          <a:lstStyle>
            <a:lvl1pPr algn="l">
              <a:lnSpc>
                <a:spcPct val="60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2B2B2459-60BA-9383-547A-159C9B9623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16" y="5104011"/>
            <a:ext cx="8548255" cy="1300978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582548246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5963F76-9109-6F65-6235-1DE7A2E012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177A3"/>
              </a:gs>
              <a:gs pos="100000">
                <a:srgbClr val="1C609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0E0D1636-63D9-AE84-54BF-7E9D45D07715}"/>
              </a:ext>
            </a:extLst>
          </p:cNvPr>
          <p:cNvSpPr/>
          <p:nvPr userDrawn="1"/>
        </p:nvSpPr>
        <p:spPr>
          <a:xfrm>
            <a:off x="7106685" y="0"/>
            <a:ext cx="5085315" cy="6858000"/>
          </a:xfrm>
          <a:custGeom>
            <a:avLst/>
            <a:gdLst>
              <a:gd name="connsiteX0" fmla="*/ 5085315 w 5085315"/>
              <a:gd name="connsiteY0" fmla="*/ 6391986 h 6858000"/>
              <a:gd name="connsiteX1" fmla="*/ 5085315 w 5085315"/>
              <a:gd name="connsiteY1" fmla="*/ 6858000 h 6858000"/>
              <a:gd name="connsiteX2" fmla="*/ 4995141 w 5085315"/>
              <a:gd name="connsiteY2" fmla="*/ 6858000 h 6858000"/>
              <a:gd name="connsiteX3" fmla="*/ 5040631 w 5085315"/>
              <a:gd name="connsiteY3" fmla="*/ 6604731 h 6858000"/>
              <a:gd name="connsiteX4" fmla="*/ 4522503 w 5085315"/>
              <a:gd name="connsiteY4" fmla="*/ 2897654 h 6858000"/>
              <a:gd name="connsiteX5" fmla="*/ 5075033 w 5085315"/>
              <a:gd name="connsiteY5" fmla="*/ 3148611 h 6858000"/>
              <a:gd name="connsiteX6" fmla="*/ 5085313 w 5085315"/>
              <a:gd name="connsiteY6" fmla="*/ 3161904 h 6858000"/>
              <a:gd name="connsiteX7" fmla="*/ 5085313 w 5085315"/>
              <a:gd name="connsiteY7" fmla="*/ 6391986 h 6858000"/>
              <a:gd name="connsiteX8" fmla="*/ 5040629 w 5085315"/>
              <a:gd name="connsiteY8" fmla="*/ 6604731 h 6858000"/>
              <a:gd name="connsiteX9" fmla="*/ 4995139 w 5085315"/>
              <a:gd name="connsiteY9" fmla="*/ 6858000 h 6858000"/>
              <a:gd name="connsiteX10" fmla="*/ 3676442 w 5085315"/>
              <a:gd name="connsiteY10" fmla="*/ 6858000 h 6858000"/>
              <a:gd name="connsiteX11" fmla="*/ 3694783 w 5085315"/>
              <a:gd name="connsiteY11" fmla="*/ 6740622 h 6858000"/>
              <a:gd name="connsiteX12" fmla="*/ 3951991 w 5085315"/>
              <a:gd name="connsiteY12" fmla="*/ 5456270 h 6858000"/>
              <a:gd name="connsiteX13" fmla="*/ 4182873 w 5085315"/>
              <a:gd name="connsiteY13" fmla="*/ 3742052 h 6858000"/>
              <a:gd name="connsiteX14" fmla="*/ 4156305 w 5085315"/>
              <a:gd name="connsiteY14" fmla="*/ 3649929 h 6858000"/>
              <a:gd name="connsiteX15" fmla="*/ 4064183 w 5085315"/>
              <a:gd name="connsiteY15" fmla="*/ 3716250 h 6858000"/>
              <a:gd name="connsiteX16" fmla="*/ 3030951 w 5085315"/>
              <a:gd name="connsiteY16" fmla="*/ 5854962 h 6858000"/>
              <a:gd name="connsiteX17" fmla="*/ 2916631 w 5085315"/>
              <a:gd name="connsiteY17" fmla="*/ 6372674 h 6858000"/>
              <a:gd name="connsiteX18" fmla="*/ 2814144 w 5085315"/>
              <a:gd name="connsiteY18" fmla="*/ 6858000 h 6858000"/>
              <a:gd name="connsiteX19" fmla="*/ 2263737 w 5085315"/>
              <a:gd name="connsiteY19" fmla="*/ 6858000 h 6858000"/>
              <a:gd name="connsiteX20" fmla="*/ 2285378 w 5085315"/>
              <a:gd name="connsiteY20" fmla="*/ 6756138 h 6858000"/>
              <a:gd name="connsiteX21" fmla="*/ 2321862 w 5085315"/>
              <a:gd name="connsiteY21" fmla="*/ 6569394 h 6858000"/>
              <a:gd name="connsiteX22" fmla="*/ 2972652 w 5085315"/>
              <a:gd name="connsiteY22" fmla="*/ 4339900 h 6858000"/>
              <a:gd name="connsiteX23" fmla="*/ 4522503 w 5085315"/>
              <a:gd name="connsiteY23" fmla="*/ 2897654 h 6858000"/>
              <a:gd name="connsiteX24" fmla="*/ 1417642 w 5085315"/>
              <a:gd name="connsiteY24" fmla="*/ 0 h 6858000"/>
              <a:gd name="connsiteX25" fmla="*/ 2906424 w 5085315"/>
              <a:gd name="connsiteY25" fmla="*/ 0 h 6858000"/>
              <a:gd name="connsiteX26" fmla="*/ 2822060 w 5085315"/>
              <a:gd name="connsiteY26" fmla="*/ 136046 h 6858000"/>
              <a:gd name="connsiteX27" fmla="*/ 1742174 w 5085315"/>
              <a:gd name="connsiteY27" fmla="*/ 3039465 h 6858000"/>
              <a:gd name="connsiteX28" fmla="*/ 1729178 w 5085315"/>
              <a:gd name="connsiteY28" fmla="*/ 3065843 h 6858000"/>
              <a:gd name="connsiteX29" fmla="*/ 1742367 w 5085315"/>
              <a:gd name="connsiteY29" fmla="*/ 3092217 h 6858000"/>
              <a:gd name="connsiteX30" fmla="*/ 1795116 w 5085315"/>
              <a:gd name="connsiteY30" fmla="*/ 3065650 h 6858000"/>
              <a:gd name="connsiteX31" fmla="*/ 4268983 w 5085315"/>
              <a:gd name="connsiteY31" fmla="*/ 242203 h 6858000"/>
              <a:gd name="connsiteX32" fmla="*/ 4406439 w 5085315"/>
              <a:gd name="connsiteY32" fmla="*/ 0 h 6858000"/>
              <a:gd name="connsiteX33" fmla="*/ 5085313 w 5085315"/>
              <a:gd name="connsiteY33" fmla="*/ 0 h 6858000"/>
              <a:gd name="connsiteX34" fmla="*/ 5085313 w 5085315"/>
              <a:gd name="connsiteY34" fmla="*/ 147240 h 6858000"/>
              <a:gd name="connsiteX35" fmla="*/ 4933297 w 5085315"/>
              <a:gd name="connsiteY35" fmla="*/ 379343 h 6858000"/>
              <a:gd name="connsiteX36" fmla="*/ 4738475 w 5085315"/>
              <a:gd name="connsiteY36" fmla="*/ 656307 h 6858000"/>
              <a:gd name="connsiteX37" fmla="*/ 1626733 w 5085315"/>
              <a:gd name="connsiteY37" fmla="*/ 3817358 h 6858000"/>
              <a:gd name="connsiteX38" fmla="*/ 1521803 w 5085315"/>
              <a:gd name="connsiteY38" fmla="*/ 3975995 h 6858000"/>
              <a:gd name="connsiteX39" fmla="*/ 1318255 w 5085315"/>
              <a:gd name="connsiteY39" fmla="*/ 5966770 h 6858000"/>
              <a:gd name="connsiteX40" fmla="*/ 1387180 w 5085315"/>
              <a:gd name="connsiteY40" fmla="*/ 6814873 h 6858000"/>
              <a:gd name="connsiteX41" fmla="*/ 1397207 w 5085315"/>
              <a:gd name="connsiteY41" fmla="*/ 6858000 h 6858000"/>
              <a:gd name="connsiteX42" fmla="*/ 67384 w 5085315"/>
              <a:gd name="connsiteY42" fmla="*/ 6858000 h 6858000"/>
              <a:gd name="connsiteX43" fmla="*/ 61202 w 5085315"/>
              <a:gd name="connsiteY43" fmla="*/ 6821267 h 6858000"/>
              <a:gd name="connsiteX44" fmla="*/ 56 w 5085315"/>
              <a:gd name="connsiteY44" fmla="*/ 5918991 h 6858000"/>
              <a:gd name="connsiteX45" fmla="*/ 1075340 w 5085315"/>
              <a:gd name="connsiteY45" fmla="*/ 801561 h 6858000"/>
              <a:gd name="connsiteX46" fmla="*/ 1251555 w 5085315"/>
              <a:gd name="connsiteY46" fmla="*/ 35855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5085315" h="6858000">
                <a:moveTo>
                  <a:pt x="5085315" y="6391986"/>
                </a:moveTo>
                <a:lnTo>
                  <a:pt x="5085315" y="6858000"/>
                </a:lnTo>
                <a:lnTo>
                  <a:pt x="4995141" y="6858000"/>
                </a:lnTo>
                <a:lnTo>
                  <a:pt x="5040631" y="6604731"/>
                </a:lnTo>
                <a:close/>
                <a:moveTo>
                  <a:pt x="4522503" y="2897654"/>
                </a:moveTo>
                <a:cubicBezTo>
                  <a:pt x="4754791" y="2896795"/>
                  <a:pt x="4937387" y="2990650"/>
                  <a:pt x="5075033" y="3148611"/>
                </a:cubicBezTo>
                <a:lnTo>
                  <a:pt x="5085313" y="3161904"/>
                </a:lnTo>
                <a:lnTo>
                  <a:pt x="5085313" y="6391986"/>
                </a:lnTo>
                <a:lnTo>
                  <a:pt x="5040629" y="6604731"/>
                </a:lnTo>
                <a:lnTo>
                  <a:pt x="4995139" y="6858000"/>
                </a:lnTo>
                <a:lnTo>
                  <a:pt x="3676442" y="6858000"/>
                </a:lnTo>
                <a:lnTo>
                  <a:pt x="3694783" y="6740622"/>
                </a:lnTo>
                <a:cubicBezTo>
                  <a:pt x="3770565" y="6297183"/>
                  <a:pt x="3867799" y="5865188"/>
                  <a:pt x="3951991" y="5456270"/>
                </a:cubicBezTo>
                <a:cubicBezTo>
                  <a:pt x="4081193" y="4770508"/>
                  <a:pt x="4145987" y="4427625"/>
                  <a:pt x="4182873" y="3742052"/>
                </a:cubicBezTo>
                <a:cubicBezTo>
                  <a:pt x="4182683" y="3689493"/>
                  <a:pt x="4182491" y="3649929"/>
                  <a:pt x="4156305" y="3649929"/>
                </a:cubicBezTo>
                <a:cubicBezTo>
                  <a:pt x="4130125" y="3649929"/>
                  <a:pt x="4103557" y="3676304"/>
                  <a:pt x="4064183" y="3716250"/>
                </a:cubicBezTo>
                <a:cubicBezTo>
                  <a:pt x="3538966" y="4297851"/>
                  <a:pt x="3225519" y="5010752"/>
                  <a:pt x="3030951" y="5854962"/>
                </a:cubicBezTo>
                <a:cubicBezTo>
                  <a:pt x="2988712" y="6026451"/>
                  <a:pt x="2952255" y="6199564"/>
                  <a:pt x="2916631" y="6372674"/>
                </a:cubicBezTo>
                <a:lnTo>
                  <a:pt x="2814144" y="6858000"/>
                </a:lnTo>
                <a:lnTo>
                  <a:pt x="2263737" y="6858000"/>
                </a:lnTo>
                <a:lnTo>
                  <a:pt x="2285378" y="6756138"/>
                </a:lnTo>
                <a:cubicBezTo>
                  <a:pt x="2298405" y="6691588"/>
                  <a:pt x="2310538" y="6628740"/>
                  <a:pt x="2321862" y="6569394"/>
                </a:cubicBezTo>
                <a:cubicBezTo>
                  <a:pt x="2437686" y="5804698"/>
                  <a:pt x="2645821" y="5052801"/>
                  <a:pt x="2972652" y="4339900"/>
                </a:cubicBezTo>
                <a:cubicBezTo>
                  <a:pt x="3260104" y="3653562"/>
                  <a:pt x="3784559" y="2926706"/>
                  <a:pt x="4522503" y="2897654"/>
                </a:cubicBezTo>
                <a:close/>
                <a:moveTo>
                  <a:pt x="1417642" y="0"/>
                </a:moveTo>
                <a:lnTo>
                  <a:pt x="2906424" y="0"/>
                </a:lnTo>
                <a:lnTo>
                  <a:pt x="2822060" y="136046"/>
                </a:lnTo>
                <a:cubicBezTo>
                  <a:pt x="2292139" y="1036744"/>
                  <a:pt x="1992359" y="2060012"/>
                  <a:pt x="1742174" y="3039465"/>
                </a:cubicBezTo>
                <a:lnTo>
                  <a:pt x="1729178" y="3065843"/>
                </a:lnTo>
                <a:lnTo>
                  <a:pt x="1742367" y="3092217"/>
                </a:lnTo>
                <a:cubicBezTo>
                  <a:pt x="1768742" y="3092217"/>
                  <a:pt x="1781737" y="3079028"/>
                  <a:pt x="1795116" y="3065650"/>
                </a:cubicBezTo>
                <a:cubicBezTo>
                  <a:pt x="2748866" y="2162742"/>
                  <a:pt x="3612326" y="1350999"/>
                  <a:pt x="4268983" y="242203"/>
                </a:cubicBezTo>
                <a:lnTo>
                  <a:pt x="4406439" y="0"/>
                </a:lnTo>
                <a:lnTo>
                  <a:pt x="5085313" y="0"/>
                </a:lnTo>
                <a:lnTo>
                  <a:pt x="5085313" y="147240"/>
                </a:lnTo>
                <a:lnTo>
                  <a:pt x="4933297" y="379343"/>
                </a:lnTo>
                <a:cubicBezTo>
                  <a:pt x="4872279" y="468629"/>
                  <a:pt x="4807329" y="560505"/>
                  <a:pt x="4738475" y="656307"/>
                </a:cubicBezTo>
                <a:cubicBezTo>
                  <a:pt x="3754741" y="1951382"/>
                  <a:pt x="2690548" y="2877969"/>
                  <a:pt x="1626733" y="3817358"/>
                </a:cubicBezTo>
                <a:cubicBezTo>
                  <a:pt x="1560795" y="3857304"/>
                  <a:pt x="1534803" y="3910053"/>
                  <a:pt x="1521803" y="3975995"/>
                </a:cubicBezTo>
                <a:cubicBezTo>
                  <a:pt x="1392412" y="4635571"/>
                  <a:pt x="1315770" y="5307765"/>
                  <a:pt x="1318255" y="5966770"/>
                </a:cubicBezTo>
                <a:cubicBezTo>
                  <a:pt x="1326092" y="6315960"/>
                  <a:pt x="1340187" y="6572882"/>
                  <a:pt x="1387180" y="6814873"/>
                </a:cubicBezTo>
                <a:lnTo>
                  <a:pt x="1397207" y="6858000"/>
                </a:lnTo>
                <a:lnTo>
                  <a:pt x="67384" y="6858000"/>
                </a:lnTo>
                <a:lnTo>
                  <a:pt x="61202" y="6821267"/>
                </a:lnTo>
                <a:cubicBezTo>
                  <a:pt x="15016" y="6506340"/>
                  <a:pt x="1013" y="6190809"/>
                  <a:pt x="56" y="5918991"/>
                </a:cubicBezTo>
                <a:cubicBezTo>
                  <a:pt x="-6251" y="4179350"/>
                  <a:pt x="514000" y="2306117"/>
                  <a:pt x="1075340" y="801561"/>
                </a:cubicBezTo>
                <a:cubicBezTo>
                  <a:pt x="1129166" y="654752"/>
                  <a:pt x="1187929" y="506688"/>
                  <a:pt x="1251555" y="358554"/>
                </a:cubicBezTo>
                <a:close/>
              </a:path>
            </a:pathLst>
          </a:custGeom>
          <a:solidFill>
            <a:srgbClr val="58A0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DE5F25C-DB68-C2FE-197B-63ADE36EC90E}"/>
              </a:ext>
            </a:extLst>
          </p:cNvPr>
          <p:cNvCxnSpPr>
            <a:cxnSpLocks/>
          </p:cNvCxnSpPr>
          <p:nvPr userDrawn="1"/>
        </p:nvCxnSpPr>
        <p:spPr>
          <a:xfrm>
            <a:off x="0" y="4085203"/>
            <a:ext cx="7000240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B335E10-390F-7CA7-891C-E957E5860526}"/>
              </a:ext>
            </a:extLst>
          </p:cNvPr>
          <p:cNvCxnSpPr>
            <a:cxnSpLocks/>
          </p:cNvCxnSpPr>
          <p:nvPr userDrawn="1"/>
        </p:nvCxnSpPr>
        <p:spPr>
          <a:xfrm>
            <a:off x="527650" y="4085203"/>
            <a:ext cx="1019210" cy="0"/>
          </a:xfrm>
          <a:prstGeom prst="line">
            <a:avLst/>
          </a:prstGeom>
          <a:ln w="381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B0183B35-E8E5-D8B1-512C-F1D1BCA30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7650" y="604491"/>
            <a:ext cx="1910750" cy="456671"/>
          </a:xfrm>
          <a:prstGeom prst="rect">
            <a:avLst/>
          </a:prstGeom>
        </p:spPr>
      </p:pic>
      <p:sp>
        <p:nvSpPr>
          <p:cNvPr id="18" name="Subtitle 2">
            <a:extLst>
              <a:ext uri="{FF2B5EF4-FFF2-40B4-BE49-F238E27FC236}">
                <a16:creationId xmlns:a16="http://schemas.microsoft.com/office/drawing/2014/main" id="{1887BD83-EA65-BC96-110C-A4982ED040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330" y="4223522"/>
            <a:ext cx="8556842" cy="1300978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PK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0B388D60-E8E6-C03C-7C74-F951BA7D47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7330" y="3075057"/>
            <a:ext cx="8556842" cy="1115890"/>
          </a:xfrm>
          <a:prstGeom prst="rect">
            <a:avLst/>
          </a:prstGeom>
        </p:spPr>
        <p:txBody>
          <a:bodyPr lIns="0" tIns="46800" rIns="0" anchor="t">
            <a:noAutofit/>
          </a:bodyPr>
          <a:lstStyle>
            <a:lvl1pPr algn="l">
              <a:lnSpc>
                <a:spcPct val="100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789103847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2A96B894-1A9C-04D1-AD6E-5EF7D1566B94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97A87D0-1641-9ED3-14FD-938EE5EA5C7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">
                <a:srgbClr val="1D6095"/>
              </a:gs>
              <a:gs pos="99000">
                <a:srgbClr val="0178A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1887BD83-EA65-BC96-110C-A4982ED040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38" y="4223522"/>
            <a:ext cx="8548233" cy="1300978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PK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0B388D60-E8E6-C03C-7C74-F951BA7D47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938" y="3075057"/>
            <a:ext cx="8548233" cy="1115890"/>
          </a:xfrm>
          <a:prstGeom prst="rect">
            <a:avLst/>
          </a:prstGeom>
        </p:spPr>
        <p:txBody>
          <a:bodyPr lIns="0" tIns="46800" rIns="0" anchor="t">
            <a:noAutofit/>
          </a:bodyPr>
          <a:lstStyle>
            <a:lvl1pPr algn="l">
              <a:lnSpc>
                <a:spcPct val="100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EA2133BA-E881-976F-81FA-B4785210FAA9}"/>
              </a:ext>
            </a:extLst>
          </p:cNvPr>
          <p:cNvCxnSpPr>
            <a:cxnSpLocks/>
          </p:cNvCxnSpPr>
          <p:nvPr userDrawn="1"/>
        </p:nvCxnSpPr>
        <p:spPr>
          <a:xfrm>
            <a:off x="0" y="4085203"/>
            <a:ext cx="7000240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383A964-1C4B-F85F-465A-4391653B0A62}"/>
              </a:ext>
            </a:extLst>
          </p:cNvPr>
          <p:cNvCxnSpPr>
            <a:cxnSpLocks/>
          </p:cNvCxnSpPr>
          <p:nvPr userDrawn="1"/>
        </p:nvCxnSpPr>
        <p:spPr>
          <a:xfrm>
            <a:off x="527650" y="4085203"/>
            <a:ext cx="1019210" cy="0"/>
          </a:xfrm>
          <a:prstGeom prst="line">
            <a:avLst/>
          </a:prstGeom>
          <a:ln w="381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2213479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2" pos="32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8343792-E0B7-0403-490F-1CA46DEC27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177A3"/>
              </a:gs>
              <a:gs pos="100000">
                <a:srgbClr val="1C609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6896ABFB-CF65-1CD8-B4BD-A934F23CF541}"/>
              </a:ext>
            </a:extLst>
          </p:cNvPr>
          <p:cNvSpPr/>
          <p:nvPr userDrawn="1"/>
        </p:nvSpPr>
        <p:spPr>
          <a:xfrm>
            <a:off x="1" y="0"/>
            <a:ext cx="12191999" cy="6858001"/>
          </a:xfrm>
          <a:custGeom>
            <a:avLst/>
            <a:gdLst>
              <a:gd name="connsiteX0" fmla="*/ 11262989 w 12191999"/>
              <a:gd name="connsiteY0" fmla="*/ 3649930 h 6858001"/>
              <a:gd name="connsiteX1" fmla="*/ 11289557 w 12191999"/>
              <a:gd name="connsiteY1" fmla="*/ 3742053 h 6858001"/>
              <a:gd name="connsiteX2" fmla="*/ 11058675 w 12191999"/>
              <a:gd name="connsiteY2" fmla="*/ 5456271 h 6858001"/>
              <a:gd name="connsiteX3" fmla="*/ 10801467 w 12191999"/>
              <a:gd name="connsiteY3" fmla="*/ 6740623 h 6858001"/>
              <a:gd name="connsiteX4" fmla="*/ 10783126 w 12191999"/>
              <a:gd name="connsiteY4" fmla="*/ 6858001 h 6858001"/>
              <a:gd name="connsiteX5" fmla="*/ 9920828 w 12191999"/>
              <a:gd name="connsiteY5" fmla="*/ 6858001 h 6858001"/>
              <a:gd name="connsiteX6" fmla="*/ 10023315 w 12191999"/>
              <a:gd name="connsiteY6" fmla="*/ 6372675 h 6858001"/>
              <a:gd name="connsiteX7" fmla="*/ 10137635 w 12191999"/>
              <a:gd name="connsiteY7" fmla="*/ 5854963 h 6858001"/>
              <a:gd name="connsiteX8" fmla="*/ 11170867 w 12191999"/>
              <a:gd name="connsiteY8" fmla="*/ 3716251 h 6858001"/>
              <a:gd name="connsiteX9" fmla="*/ 11262989 w 12191999"/>
              <a:gd name="connsiteY9" fmla="*/ 3649930 h 6858001"/>
              <a:gd name="connsiteX10" fmla="*/ 10013108 w 12191999"/>
              <a:gd name="connsiteY10" fmla="*/ 1 h 6858001"/>
              <a:gd name="connsiteX11" fmla="*/ 11513123 w 12191999"/>
              <a:gd name="connsiteY11" fmla="*/ 1 h 6858001"/>
              <a:gd name="connsiteX12" fmla="*/ 11375667 w 12191999"/>
              <a:gd name="connsiteY12" fmla="*/ 242204 h 6858001"/>
              <a:gd name="connsiteX13" fmla="*/ 8901800 w 12191999"/>
              <a:gd name="connsiteY13" fmla="*/ 3065651 h 6858001"/>
              <a:gd name="connsiteX14" fmla="*/ 8849051 w 12191999"/>
              <a:gd name="connsiteY14" fmla="*/ 3092218 h 6858001"/>
              <a:gd name="connsiteX15" fmla="*/ 8835862 w 12191999"/>
              <a:gd name="connsiteY15" fmla="*/ 3065844 h 6858001"/>
              <a:gd name="connsiteX16" fmla="*/ 8848858 w 12191999"/>
              <a:gd name="connsiteY16" fmla="*/ 3039466 h 6858001"/>
              <a:gd name="connsiteX17" fmla="*/ 9928744 w 12191999"/>
              <a:gd name="connsiteY17" fmla="*/ 136047 h 6858001"/>
              <a:gd name="connsiteX18" fmla="*/ 0 w 12191999"/>
              <a:gd name="connsiteY18" fmla="*/ 0 h 6858001"/>
              <a:gd name="connsiteX19" fmla="*/ 8524326 w 12191999"/>
              <a:gd name="connsiteY19" fmla="*/ 0 h 6858001"/>
              <a:gd name="connsiteX20" fmla="*/ 8358239 w 12191999"/>
              <a:gd name="connsiteY20" fmla="*/ 358554 h 6858001"/>
              <a:gd name="connsiteX21" fmla="*/ 8182024 w 12191999"/>
              <a:gd name="connsiteY21" fmla="*/ 801561 h 6858001"/>
              <a:gd name="connsiteX22" fmla="*/ 7106740 w 12191999"/>
              <a:gd name="connsiteY22" fmla="*/ 5918991 h 6858001"/>
              <a:gd name="connsiteX23" fmla="*/ 7167886 w 12191999"/>
              <a:gd name="connsiteY23" fmla="*/ 6821267 h 6858001"/>
              <a:gd name="connsiteX24" fmla="*/ 7174068 w 12191999"/>
              <a:gd name="connsiteY24" fmla="*/ 6858000 h 6858001"/>
              <a:gd name="connsiteX25" fmla="*/ 0 w 12191999"/>
              <a:gd name="connsiteY25" fmla="*/ 6858000 h 6858001"/>
              <a:gd name="connsiteX26" fmla="*/ 12191997 w 12191999"/>
              <a:gd name="connsiteY26" fmla="*/ 0 h 6858001"/>
              <a:gd name="connsiteX27" fmla="*/ 12191999 w 12191999"/>
              <a:gd name="connsiteY27" fmla="*/ 0 h 6858001"/>
              <a:gd name="connsiteX28" fmla="*/ 12191999 w 12191999"/>
              <a:gd name="connsiteY28" fmla="*/ 6391986 h 6858001"/>
              <a:gd name="connsiteX29" fmla="*/ 12147315 w 12191999"/>
              <a:gd name="connsiteY29" fmla="*/ 6604731 h 6858001"/>
              <a:gd name="connsiteX30" fmla="*/ 12101825 w 12191999"/>
              <a:gd name="connsiteY30" fmla="*/ 6858000 h 6858001"/>
              <a:gd name="connsiteX31" fmla="*/ 12101823 w 12191999"/>
              <a:gd name="connsiteY31" fmla="*/ 6858000 h 6858001"/>
              <a:gd name="connsiteX32" fmla="*/ 12147313 w 12191999"/>
              <a:gd name="connsiteY32" fmla="*/ 6604731 h 6858001"/>
              <a:gd name="connsiteX33" fmla="*/ 12191997 w 12191999"/>
              <a:gd name="connsiteY33" fmla="*/ 6391986 h 6858001"/>
              <a:gd name="connsiteX34" fmla="*/ 12191997 w 12191999"/>
              <a:gd name="connsiteY34" fmla="*/ 3161904 h 6858001"/>
              <a:gd name="connsiteX35" fmla="*/ 12181717 w 12191999"/>
              <a:gd name="connsiteY35" fmla="*/ 3148611 h 6858001"/>
              <a:gd name="connsiteX36" fmla="*/ 11629187 w 12191999"/>
              <a:gd name="connsiteY36" fmla="*/ 2897654 h 6858001"/>
              <a:gd name="connsiteX37" fmla="*/ 10079336 w 12191999"/>
              <a:gd name="connsiteY37" fmla="*/ 4339900 h 6858001"/>
              <a:gd name="connsiteX38" fmla="*/ 9428546 w 12191999"/>
              <a:gd name="connsiteY38" fmla="*/ 6569394 h 6858001"/>
              <a:gd name="connsiteX39" fmla="*/ 9392062 w 12191999"/>
              <a:gd name="connsiteY39" fmla="*/ 6756138 h 6858001"/>
              <a:gd name="connsiteX40" fmla="*/ 9370421 w 12191999"/>
              <a:gd name="connsiteY40" fmla="*/ 6858000 h 6858001"/>
              <a:gd name="connsiteX41" fmla="*/ 8503891 w 12191999"/>
              <a:gd name="connsiteY41" fmla="*/ 6858000 h 6858001"/>
              <a:gd name="connsiteX42" fmla="*/ 8493864 w 12191999"/>
              <a:gd name="connsiteY42" fmla="*/ 6814873 h 6858001"/>
              <a:gd name="connsiteX43" fmla="*/ 8424939 w 12191999"/>
              <a:gd name="connsiteY43" fmla="*/ 5966770 h 6858001"/>
              <a:gd name="connsiteX44" fmla="*/ 8628487 w 12191999"/>
              <a:gd name="connsiteY44" fmla="*/ 3975995 h 6858001"/>
              <a:gd name="connsiteX45" fmla="*/ 8733417 w 12191999"/>
              <a:gd name="connsiteY45" fmla="*/ 3817358 h 6858001"/>
              <a:gd name="connsiteX46" fmla="*/ 11845159 w 12191999"/>
              <a:gd name="connsiteY46" fmla="*/ 656307 h 6858001"/>
              <a:gd name="connsiteX47" fmla="*/ 12039981 w 12191999"/>
              <a:gd name="connsiteY47" fmla="*/ 379343 h 6858001"/>
              <a:gd name="connsiteX48" fmla="*/ 12191997 w 12191999"/>
              <a:gd name="connsiteY48" fmla="*/ 14724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2191999" h="6858001">
                <a:moveTo>
                  <a:pt x="11262989" y="3649930"/>
                </a:moveTo>
                <a:cubicBezTo>
                  <a:pt x="11289175" y="3649930"/>
                  <a:pt x="11289367" y="3689494"/>
                  <a:pt x="11289557" y="3742053"/>
                </a:cubicBezTo>
                <a:cubicBezTo>
                  <a:pt x="11252671" y="4427626"/>
                  <a:pt x="11187877" y="4770509"/>
                  <a:pt x="11058675" y="5456271"/>
                </a:cubicBezTo>
                <a:cubicBezTo>
                  <a:pt x="10974483" y="5865189"/>
                  <a:pt x="10877249" y="6297184"/>
                  <a:pt x="10801467" y="6740623"/>
                </a:cubicBezTo>
                <a:lnTo>
                  <a:pt x="10783126" y="6858001"/>
                </a:lnTo>
                <a:lnTo>
                  <a:pt x="9920828" y="6858001"/>
                </a:lnTo>
                <a:lnTo>
                  <a:pt x="10023315" y="6372675"/>
                </a:lnTo>
                <a:cubicBezTo>
                  <a:pt x="10058939" y="6199565"/>
                  <a:pt x="10095396" y="6026452"/>
                  <a:pt x="10137635" y="5854963"/>
                </a:cubicBezTo>
                <a:cubicBezTo>
                  <a:pt x="10332203" y="5010753"/>
                  <a:pt x="10645650" y="4297852"/>
                  <a:pt x="11170867" y="3716251"/>
                </a:cubicBezTo>
                <a:cubicBezTo>
                  <a:pt x="11210241" y="3676305"/>
                  <a:pt x="11236809" y="3649930"/>
                  <a:pt x="11262989" y="3649930"/>
                </a:cubicBezTo>
                <a:close/>
                <a:moveTo>
                  <a:pt x="10013108" y="1"/>
                </a:moveTo>
                <a:lnTo>
                  <a:pt x="11513123" y="1"/>
                </a:lnTo>
                <a:lnTo>
                  <a:pt x="11375667" y="242204"/>
                </a:lnTo>
                <a:cubicBezTo>
                  <a:pt x="10719010" y="1351000"/>
                  <a:pt x="9855550" y="2162743"/>
                  <a:pt x="8901800" y="3065651"/>
                </a:cubicBezTo>
                <a:cubicBezTo>
                  <a:pt x="8888421" y="3079029"/>
                  <a:pt x="8875426" y="3092218"/>
                  <a:pt x="8849051" y="3092218"/>
                </a:cubicBezTo>
                <a:lnTo>
                  <a:pt x="8835862" y="3065844"/>
                </a:lnTo>
                <a:lnTo>
                  <a:pt x="8848858" y="3039466"/>
                </a:lnTo>
                <a:cubicBezTo>
                  <a:pt x="9099043" y="2060013"/>
                  <a:pt x="9398823" y="1036745"/>
                  <a:pt x="9928744" y="136047"/>
                </a:cubicBezTo>
                <a:close/>
                <a:moveTo>
                  <a:pt x="0" y="0"/>
                </a:moveTo>
                <a:lnTo>
                  <a:pt x="8524326" y="0"/>
                </a:lnTo>
                <a:lnTo>
                  <a:pt x="8358239" y="358554"/>
                </a:lnTo>
                <a:cubicBezTo>
                  <a:pt x="8294613" y="506688"/>
                  <a:pt x="8235850" y="654752"/>
                  <a:pt x="8182024" y="801561"/>
                </a:cubicBezTo>
                <a:cubicBezTo>
                  <a:pt x="7620684" y="2306117"/>
                  <a:pt x="7100433" y="4179350"/>
                  <a:pt x="7106740" y="5918991"/>
                </a:cubicBezTo>
                <a:cubicBezTo>
                  <a:pt x="7107697" y="6190809"/>
                  <a:pt x="7121700" y="6506340"/>
                  <a:pt x="7167886" y="6821267"/>
                </a:cubicBezTo>
                <a:lnTo>
                  <a:pt x="7174068" y="6858000"/>
                </a:lnTo>
                <a:lnTo>
                  <a:pt x="0" y="6858000"/>
                </a:lnTo>
                <a:close/>
                <a:moveTo>
                  <a:pt x="12191997" y="0"/>
                </a:moveTo>
                <a:lnTo>
                  <a:pt x="12191999" y="0"/>
                </a:lnTo>
                <a:lnTo>
                  <a:pt x="12191999" y="6391986"/>
                </a:lnTo>
                <a:lnTo>
                  <a:pt x="12147315" y="6604731"/>
                </a:lnTo>
                <a:lnTo>
                  <a:pt x="12101825" y="6858000"/>
                </a:lnTo>
                <a:lnTo>
                  <a:pt x="12101823" y="6858000"/>
                </a:lnTo>
                <a:lnTo>
                  <a:pt x="12147313" y="6604731"/>
                </a:lnTo>
                <a:lnTo>
                  <a:pt x="12191997" y="6391986"/>
                </a:lnTo>
                <a:lnTo>
                  <a:pt x="12191997" y="3161904"/>
                </a:lnTo>
                <a:lnTo>
                  <a:pt x="12181717" y="3148611"/>
                </a:lnTo>
                <a:cubicBezTo>
                  <a:pt x="12044071" y="2990650"/>
                  <a:pt x="11861475" y="2896795"/>
                  <a:pt x="11629187" y="2897654"/>
                </a:cubicBezTo>
                <a:cubicBezTo>
                  <a:pt x="10891243" y="2926706"/>
                  <a:pt x="10366788" y="3653562"/>
                  <a:pt x="10079336" y="4339900"/>
                </a:cubicBezTo>
                <a:cubicBezTo>
                  <a:pt x="9752505" y="5052801"/>
                  <a:pt x="9544370" y="5804698"/>
                  <a:pt x="9428546" y="6569394"/>
                </a:cubicBezTo>
                <a:cubicBezTo>
                  <a:pt x="9417222" y="6628740"/>
                  <a:pt x="9405089" y="6691588"/>
                  <a:pt x="9392062" y="6756138"/>
                </a:cubicBezTo>
                <a:lnTo>
                  <a:pt x="9370421" y="6858000"/>
                </a:lnTo>
                <a:lnTo>
                  <a:pt x="8503891" y="6858000"/>
                </a:lnTo>
                <a:lnTo>
                  <a:pt x="8493864" y="6814873"/>
                </a:lnTo>
                <a:cubicBezTo>
                  <a:pt x="8446871" y="6572882"/>
                  <a:pt x="8432776" y="6315960"/>
                  <a:pt x="8424939" y="5966770"/>
                </a:cubicBezTo>
                <a:cubicBezTo>
                  <a:pt x="8422454" y="5307765"/>
                  <a:pt x="8499096" y="4635571"/>
                  <a:pt x="8628487" y="3975995"/>
                </a:cubicBezTo>
                <a:cubicBezTo>
                  <a:pt x="8641487" y="3910053"/>
                  <a:pt x="8667479" y="3857304"/>
                  <a:pt x="8733417" y="3817358"/>
                </a:cubicBezTo>
                <a:cubicBezTo>
                  <a:pt x="9797232" y="2877969"/>
                  <a:pt x="10861425" y="1951382"/>
                  <a:pt x="11845159" y="656307"/>
                </a:cubicBezTo>
                <a:cubicBezTo>
                  <a:pt x="11914013" y="560505"/>
                  <a:pt x="11978963" y="468629"/>
                  <a:pt x="12039981" y="379343"/>
                </a:cubicBezTo>
                <a:lnTo>
                  <a:pt x="12191997" y="1472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0183B35-E8E5-D8B1-512C-F1D1BCA30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7650" y="604491"/>
            <a:ext cx="1910750" cy="456671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60F4218-2EE0-546D-3F79-E0E719A6FCFB}"/>
              </a:ext>
            </a:extLst>
          </p:cNvPr>
          <p:cNvCxnSpPr>
            <a:cxnSpLocks/>
          </p:cNvCxnSpPr>
          <p:nvPr userDrawn="1"/>
        </p:nvCxnSpPr>
        <p:spPr>
          <a:xfrm>
            <a:off x="0" y="4220935"/>
            <a:ext cx="6249500" cy="0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ubtitle 2">
            <a:extLst>
              <a:ext uri="{FF2B5EF4-FFF2-40B4-BE49-F238E27FC236}">
                <a16:creationId xmlns:a16="http://schemas.microsoft.com/office/drawing/2014/main" id="{F4BAC6E8-70D6-03EB-2CF9-73EF399350E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16" y="4359254"/>
            <a:ext cx="8548255" cy="1300978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PK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BADFC970-AC73-A3EA-1D39-CD87A3E84E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939" y="1963717"/>
            <a:ext cx="8570188" cy="2305087"/>
          </a:xfrm>
          <a:prstGeom prst="rect">
            <a:avLst/>
          </a:prstGeom>
        </p:spPr>
        <p:txBody>
          <a:bodyPr lIns="0" tIns="46800" rIns="0" anchor="b">
            <a:noAutofit/>
          </a:bodyPr>
          <a:lstStyle>
            <a:lvl1pPr algn="l">
              <a:lnSpc>
                <a:spcPct val="60000"/>
              </a:lnSpc>
              <a:defRPr sz="7200">
                <a:solidFill>
                  <a:schemeClr val="bg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5FE48B-DAAC-027F-E8AC-F238A14B8639}"/>
              </a:ext>
            </a:extLst>
          </p:cNvPr>
          <p:cNvCxnSpPr>
            <a:cxnSpLocks/>
          </p:cNvCxnSpPr>
          <p:nvPr userDrawn="1"/>
        </p:nvCxnSpPr>
        <p:spPr>
          <a:xfrm>
            <a:off x="527650" y="4220935"/>
            <a:ext cx="1019210" cy="0"/>
          </a:xfrm>
          <a:prstGeom prst="line">
            <a:avLst/>
          </a:prstGeom>
          <a:ln w="381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4DCE45CC-D9B6-C91F-F8F3-AE5826DDB67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27650" y="756891"/>
            <a:ext cx="1910750" cy="45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080812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2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divi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6896ABFB-CF65-1CD8-B4BD-A934F23CF541}"/>
              </a:ext>
            </a:extLst>
          </p:cNvPr>
          <p:cNvSpPr/>
          <p:nvPr userDrawn="1"/>
        </p:nvSpPr>
        <p:spPr>
          <a:xfrm>
            <a:off x="1" y="0"/>
            <a:ext cx="12191999" cy="6858001"/>
          </a:xfrm>
          <a:custGeom>
            <a:avLst/>
            <a:gdLst>
              <a:gd name="connsiteX0" fmla="*/ 11262989 w 12191999"/>
              <a:gd name="connsiteY0" fmla="*/ 3649930 h 6858001"/>
              <a:gd name="connsiteX1" fmla="*/ 11289557 w 12191999"/>
              <a:gd name="connsiteY1" fmla="*/ 3742053 h 6858001"/>
              <a:gd name="connsiteX2" fmla="*/ 11058675 w 12191999"/>
              <a:gd name="connsiteY2" fmla="*/ 5456271 h 6858001"/>
              <a:gd name="connsiteX3" fmla="*/ 10801467 w 12191999"/>
              <a:gd name="connsiteY3" fmla="*/ 6740623 h 6858001"/>
              <a:gd name="connsiteX4" fmla="*/ 10783126 w 12191999"/>
              <a:gd name="connsiteY4" fmla="*/ 6858001 h 6858001"/>
              <a:gd name="connsiteX5" fmla="*/ 9920828 w 12191999"/>
              <a:gd name="connsiteY5" fmla="*/ 6858001 h 6858001"/>
              <a:gd name="connsiteX6" fmla="*/ 10023315 w 12191999"/>
              <a:gd name="connsiteY6" fmla="*/ 6372675 h 6858001"/>
              <a:gd name="connsiteX7" fmla="*/ 10137635 w 12191999"/>
              <a:gd name="connsiteY7" fmla="*/ 5854963 h 6858001"/>
              <a:gd name="connsiteX8" fmla="*/ 11170867 w 12191999"/>
              <a:gd name="connsiteY8" fmla="*/ 3716251 h 6858001"/>
              <a:gd name="connsiteX9" fmla="*/ 11262989 w 12191999"/>
              <a:gd name="connsiteY9" fmla="*/ 3649930 h 6858001"/>
              <a:gd name="connsiteX10" fmla="*/ 10013108 w 12191999"/>
              <a:gd name="connsiteY10" fmla="*/ 1 h 6858001"/>
              <a:gd name="connsiteX11" fmla="*/ 11513123 w 12191999"/>
              <a:gd name="connsiteY11" fmla="*/ 1 h 6858001"/>
              <a:gd name="connsiteX12" fmla="*/ 11375667 w 12191999"/>
              <a:gd name="connsiteY12" fmla="*/ 242204 h 6858001"/>
              <a:gd name="connsiteX13" fmla="*/ 8901800 w 12191999"/>
              <a:gd name="connsiteY13" fmla="*/ 3065651 h 6858001"/>
              <a:gd name="connsiteX14" fmla="*/ 8849051 w 12191999"/>
              <a:gd name="connsiteY14" fmla="*/ 3092218 h 6858001"/>
              <a:gd name="connsiteX15" fmla="*/ 8835862 w 12191999"/>
              <a:gd name="connsiteY15" fmla="*/ 3065844 h 6858001"/>
              <a:gd name="connsiteX16" fmla="*/ 8848858 w 12191999"/>
              <a:gd name="connsiteY16" fmla="*/ 3039466 h 6858001"/>
              <a:gd name="connsiteX17" fmla="*/ 9928744 w 12191999"/>
              <a:gd name="connsiteY17" fmla="*/ 136047 h 6858001"/>
              <a:gd name="connsiteX18" fmla="*/ 0 w 12191999"/>
              <a:gd name="connsiteY18" fmla="*/ 0 h 6858001"/>
              <a:gd name="connsiteX19" fmla="*/ 8524326 w 12191999"/>
              <a:gd name="connsiteY19" fmla="*/ 0 h 6858001"/>
              <a:gd name="connsiteX20" fmla="*/ 8358239 w 12191999"/>
              <a:gd name="connsiteY20" fmla="*/ 358554 h 6858001"/>
              <a:gd name="connsiteX21" fmla="*/ 8182024 w 12191999"/>
              <a:gd name="connsiteY21" fmla="*/ 801561 h 6858001"/>
              <a:gd name="connsiteX22" fmla="*/ 7106740 w 12191999"/>
              <a:gd name="connsiteY22" fmla="*/ 5918991 h 6858001"/>
              <a:gd name="connsiteX23" fmla="*/ 7167886 w 12191999"/>
              <a:gd name="connsiteY23" fmla="*/ 6821267 h 6858001"/>
              <a:gd name="connsiteX24" fmla="*/ 7174068 w 12191999"/>
              <a:gd name="connsiteY24" fmla="*/ 6858000 h 6858001"/>
              <a:gd name="connsiteX25" fmla="*/ 0 w 12191999"/>
              <a:gd name="connsiteY25" fmla="*/ 6858000 h 6858001"/>
              <a:gd name="connsiteX26" fmla="*/ 12191997 w 12191999"/>
              <a:gd name="connsiteY26" fmla="*/ 0 h 6858001"/>
              <a:gd name="connsiteX27" fmla="*/ 12191999 w 12191999"/>
              <a:gd name="connsiteY27" fmla="*/ 0 h 6858001"/>
              <a:gd name="connsiteX28" fmla="*/ 12191999 w 12191999"/>
              <a:gd name="connsiteY28" fmla="*/ 6391986 h 6858001"/>
              <a:gd name="connsiteX29" fmla="*/ 12147315 w 12191999"/>
              <a:gd name="connsiteY29" fmla="*/ 6604731 h 6858001"/>
              <a:gd name="connsiteX30" fmla="*/ 12101825 w 12191999"/>
              <a:gd name="connsiteY30" fmla="*/ 6858000 h 6858001"/>
              <a:gd name="connsiteX31" fmla="*/ 12101823 w 12191999"/>
              <a:gd name="connsiteY31" fmla="*/ 6858000 h 6858001"/>
              <a:gd name="connsiteX32" fmla="*/ 12147313 w 12191999"/>
              <a:gd name="connsiteY32" fmla="*/ 6604731 h 6858001"/>
              <a:gd name="connsiteX33" fmla="*/ 12191997 w 12191999"/>
              <a:gd name="connsiteY33" fmla="*/ 6391986 h 6858001"/>
              <a:gd name="connsiteX34" fmla="*/ 12191997 w 12191999"/>
              <a:gd name="connsiteY34" fmla="*/ 3161904 h 6858001"/>
              <a:gd name="connsiteX35" fmla="*/ 12181717 w 12191999"/>
              <a:gd name="connsiteY35" fmla="*/ 3148611 h 6858001"/>
              <a:gd name="connsiteX36" fmla="*/ 11629187 w 12191999"/>
              <a:gd name="connsiteY36" fmla="*/ 2897654 h 6858001"/>
              <a:gd name="connsiteX37" fmla="*/ 10079336 w 12191999"/>
              <a:gd name="connsiteY37" fmla="*/ 4339900 h 6858001"/>
              <a:gd name="connsiteX38" fmla="*/ 9428546 w 12191999"/>
              <a:gd name="connsiteY38" fmla="*/ 6569394 h 6858001"/>
              <a:gd name="connsiteX39" fmla="*/ 9392062 w 12191999"/>
              <a:gd name="connsiteY39" fmla="*/ 6756138 h 6858001"/>
              <a:gd name="connsiteX40" fmla="*/ 9370421 w 12191999"/>
              <a:gd name="connsiteY40" fmla="*/ 6858000 h 6858001"/>
              <a:gd name="connsiteX41" fmla="*/ 8503891 w 12191999"/>
              <a:gd name="connsiteY41" fmla="*/ 6858000 h 6858001"/>
              <a:gd name="connsiteX42" fmla="*/ 8493864 w 12191999"/>
              <a:gd name="connsiteY42" fmla="*/ 6814873 h 6858001"/>
              <a:gd name="connsiteX43" fmla="*/ 8424939 w 12191999"/>
              <a:gd name="connsiteY43" fmla="*/ 5966770 h 6858001"/>
              <a:gd name="connsiteX44" fmla="*/ 8628487 w 12191999"/>
              <a:gd name="connsiteY44" fmla="*/ 3975995 h 6858001"/>
              <a:gd name="connsiteX45" fmla="*/ 8733417 w 12191999"/>
              <a:gd name="connsiteY45" fmla="*/ 3817358 h 6858001"/>
              <a:gd name="connsiteX46" fmla="*/ 11845159 w 12191999"/>
              <a:gd name="connsiteY46" fmla="*/ 656307 h 6858001"/>
              <a:gd name="connsiteX47" fmla="*/ 12039981 w 12191999"/>
              <a:gd name="connsiteY47" fmla="*/ 379343 h 6858001"/>
              <a:gd name="connsiteX48" fmla="*/ 12191997 w 12191999"/>
              <a:gd name="connsiteY48" fmla="*/ 14724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2191999" h="6858001">
                <a:moveTo>
                  <a:pt x="11262989" y="3649930"/>
                </a:moveTo>
                <a:cubicBezTo>
                  <a:pt x="11289175" y="3649930"/>
                  <a:pt x="11289367" y="3689494"/>
                  <a:pt x="11289557" y="3742053"/>
                </a:cubicBezTo>
                <a:cubicBezTo>
                  <a:pt x="11252671" y="4427626"/>
                  <a:pt x="11187877" y="4770509"/>
                  <a:pt x="11058675" y="5456271"/>
                </a:cubicBezTo>
                <a:cubicBezTo>
                  <a:pt x="10974483" y="5865189"/>
                  <a:pt x="10877249" y="6297184"/>
                  <a:pt x="10801467" y="6740623"/>
                </a:cubicBezTo>
                <a:lnTo>
                  <a:pt x="10783126" y="6858001"/>
                </a:lnTo>
                <a:lnTo>
                  <a:pt x="9920828" y="6858001"/>
                </a:lnTo>
                <a:lnTo>
                  <a:pt x="10023315" y="6372675"/>
                </a:lnTo>
                <a:cubicBezTo>
                  <a:pt x="10058939" y="6199565"/>
                  <a:pt x="10095396" y="6026452"/>
                  <a:pt x="10137635" y="5854963"/>
                </a:cubicBezTo>
                <a:cubicBezTo>
                  <a:pt x="10332203" y="5010753"/>
                  <a:pt x="10645650" y="4297852"/>
                  <a:pt x="11170867" y="3716251"/>
                </a:cubicBezTo>
                <a:cubicBezTo>
                  <a:pt x="11210241" y="3676305"/>
                  <a:pt x="11236809" y="3649930"/>
                  <a:pt x="11262989" y="3649930"/>
                </a:cubicBezTo>
                <a:close/>
                <a:moveTo>
                  <a:pt x="10013108" y="1"/>
                </a:moveTo>
                <a:lnTo>
                  <a:pt x="11513123" y="1"/>
                </a:lnTo>
                <a:lnTo>
                  <a:pt x="11375667" y="242204"/>
                </a:lnTo>
                <a:cubicBezTo>
                  <a:pt x="10719010" y="1351000"/>
                  <a:pt x="9855550" y="2162743"/>
                  <a:pt x="8901800" y="3065651"/>
                </a:cubicBezTo>
                <a:cubicBezTo>
                  <a:pt x="8888421" y="3079029"/>
                  <a:pt x="8875426" y="3092218"/>
                  <a:pt x="8849051" y="3092218"/>
                </a:cubicBezTo>
                <a:lnTo>
                  <a:pt x="8835862" y="3065844"/>
                </a:lnTo>
                <a:lnTo>
                  <a:pt x="8848858" y="3039466"/>
                </a:lnTo>
                <a:cubicBezTo>
                  <a:pt x="9099043" y="2060013"/>
                  <a:pt x="9398823" y="1036745"/>
                  <a:pt x="9928744" y="136047"/>
                </a:cubicBezTo>
                <a:close/>
                <a:moveTo>
                  <a:pt x="0" y="0"/>
                </a:moveTo>
                <a:lnTo>
                  <a:pt x="8524326" y="0"/>
                </a:lnTo>
                <a:lnTo>
                  <a:pt x="8358239" y="358554"/>
                </a:lnTo>
                <a:cubicBezTo>
                  <a:pt x="8294613" y="506688"/>
                  <a:pt x="8235850" y="654752"/>
                  <a:pt x="8182024" y="801561"/>
                </a:cubicBezTo>
                <a:cubicBezTo>
                  <a:pt x="7620684" y="2306117"/>
                  <a:pt x="7100433" y="4179350"/>
                  <a:pt x="7106740" y="5918991"/>
                </a:cubicBezTo>
                <a:cubicBezTo>
                  <a:pt x="7107697" y="6190809"/>
                  <a:pt x="7121700" y="6506340"/>
                  <a:pt x="7167886" y="6821267"/>
                </a:cubicBezTo>
                <a:lnTo>
                  <a:pt x="7174068" y="6858000"/>
                </a:lnTo>
                <a:lnTo>
                  <a:pt x="0" y="6858000"/>
                </a:lnTo>
                <a:close/>
                <a:moveTo>
                  <a:pt x="12191997" y="0"/>
                </a:moveTo>
                <a:lnTo>
                  <a:pt x="12191999" y="0"/>
                </a:lnTo>
                <a:lnTo>
                  <a:pt x="12191999" y="6391986"/>
                </a:lnTo>
                <a:lnTo>
                  <a:pt x="12147315" y="6604731"/>
                </a:lnTo>
                <a:lnTo>
                  <a:pt x="12101825" y="6858000"/>
                </a:lnTo>
                <a:lnTo>
                  <a:pt x="12101823" y="6858000"/>
                </a:lnTo>
                <a:lnTo>
                  <a:pt x="12147313" y="6604731"/>
                </a:lnTo>
                <a:lnTo>
                  <a:pt x="12191997" y="6391986"/>
                </a:lnTo>
                <a:lnTo>
                  <a:pt x="12191997" y="3161904"/>
                </a:lnTo>
                <a:lnTo>
                  <a:pt x="12181717" y="3148611"/>
                </a:lnTo>
                <a:cubicBezTo>
                  <a:pt x="12044071" y="2990650"/>
                  <a:pt x="11861475" y="2896795"/>
                  <a:pt x="11629187" y="2897654"/>
                </a:cubicBezTo>
                <a:cubicBezTo>
                  <a:pt x="10891243" y="2926706"/>
                  <a:pt x="10366788" y="3653562"/>
                  <a:pt x="10079336" y="4339900"/>
                </a:cubicBezTo>
                <a:cubicBezTo>
                  <a:pt x="9752505" y="5052801"/>
                  <a:pt x="9544370" y="5804698"/>
                  <a:pt x="9428546" y="6569394"/>
                </a:cubicBezTo>
                <a:cubicBezTo>
                  <a:pt x="9417222" y="6628740"/>
                  <a:pt x="9405089" y="6691588"/>
                  <a:pt x="9392062" y="6756138"/>
                </a:cubicBezTo>
                <a:lnTo>
                  <a:pt x="9370421" y="6858000"/>
                </a:lnTo>
                <a:lnTo>
                  <a:pt x="8503891" y="6858000"/>
                </a:lnTo>
                <a:lnTo>
                  <a:pt x="8493864" y="6814873"/>
                </a:lnTo>
                <a:cubicBezTo>
                  <a:pt x="8446871" y="6572882"/>
                  <a:pt x="8432776" y="6315960"/>
                  <a:pt x="8424939" y="5966770"/>
                </a:cubicBezTo>
                <a:cubicBezTo>
                  <a:pt x="8422454" y="5307765"/>
                  <a:pt x="8499096" y="4635571"/>
                  <a:pt x="8628487" y="3975995"/>
                </a:cubicBezTo>
                <a:cubicBezTo>
                  <a:pt x="8641487" y="3910053"/>
                  <a:pt x="8667479" y="3857304"/>
                  <a:pt x="8733417" y="3817358"/>
                </a:cubicBezTo>
                <a:cubicBezTo>
                  <a:pt x="9797232" y="2877969"/>
                  <a:pt x="10861425" y="1951382"/>
                  <a:pt x="11845159" y="656307"/>
                </a:cubicBezTo>
                <a:cubicBezTo>
                  <a:pt x="11914013" y="560505"/>
                  <a:pt x="11978963" y="468629"/>
                  <a:pt x="12039981" y="379343"/>
                </a:cubicBezTo>
                <a:lnTo>
                  <a:pt x="12191997" y="1472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6E9DEA9B-625B-FF05-FB58-26962F8477B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106684" y="0"/>
            <a:ext cx="5085316" cy="6858000"/>
          </a:xfrm>
          <a:custGeom>
            <a:avLst/>
            <a:gdLst>
              <a:gd name="connsiteX0" fmla="*/ 5085316 w 5085316"/>
              <a:gd name="connsiteY0" fmla="*/ 6391986 h 6858000"/>
              <a:gd name="connsiteX1" fmla="*/ 5085316 w 5085316"/>
              <a:gd name="connsiteY1" fmla="*/ 6858000 h 6858000"/>
              <a:gd name="connsiteX2" fmla="*/ 4995142 w 5085316"/>
              <a:gd name="connsiteY2" fmla="*/ 6858000 h 6858000"/>
              <a:gd name="connsiteX3" fmla="*/ 5040632 w 5085316"/>
              <a:gd name="connsiteY3" fmla="*/ 6604731 h 6858000"/>
              <a:gd name="connsiteX4" fmla="*/ 4522504 w 5085316"/>
              <a:gd name="connsiteY4" fmla="*/ 2897654 h 6858000"/>
              <a:gd name="connsiteX5" fmla="*/ 5075034 w 5085316"/>
              <a:gd name="connsiteY5" fmla="*/ 3148611 h 6858000"/>
              <a:gd name="connsiteX6" fmla="*/ 5085314 w 5085316"/>
              <a:gd name="connsiteY6" fmla="*/ 3161904 h 6858000"/>
              <a:gd name="connsiteX7" fmla="*/ 5085314 w 5085316"/>
              <a:gd name="connsiteY7" fmla="*/ 6391986 h 6858000"/>
              <a:gd name="connsiteX8" fmla="*/ 5040630 w 5085316"/>
              <a:gd name="connsiteY8" fmla="*/ 6604731 h 6858000"/>
              <a:gd name="connsiteX9" fmla="*/ 4995140 w 5085316"/>
              <a:gd name="connsiteY9" fmla="*/ 6858000 h 6858000"/>
              <a:gd name="connsiteX10" fmla="*/ 3676443 w 5085316"/>
              <a:gd name="connsiteY10" fmla="*/ 6858000 h 6858000"/>
              <a:gd name="connsiteX11" fmla="*/ 3694784 w 5085316"/>
              <a:gd name="connsiteY11" fmla="*/ 6740622 h 6858000"/>
              <a:gd name="connsiteX12" fmla="*/ 3951992 w 5085316"/>
              <a:gd name="connsiteY12" fmla="*/ 5456270 h 6858000"/>
              <a:gd name="connsiteX13" fmla="*/ 4182874 w 5085316"/>
              <a:gd name="connsiteY13" fmla="*/ 3742052 h 6858000"/>
              <a:gd name="connsiteX14" fmla="*/ 4156306 w 5085316"/>
              <a:gd name="connsiteY14" fmla="*/ 3649929 h 6858000"/>
              <a:gd name="connsiteX15" fmla="*/ 4064184 w 5085316"/>
              <a:gd name="connsiteY15" fmla="*/ 3716250 h 6858000"/>
              <a:gd name="connsiteX16" fmla="*/ 3030952 w 5085316"/>
              <a:gd name="connsiteY16" fmla="*/ 5854962 h 6858000"/>
              <a:gd name="connsiteX17" fmla="*/ 2916632 w 5085316"/>
              <a:gd name="connsiteY17" fmla="*/ 6372674 h 6858000"/>
              <a:gd name="connsiteX18" fmla="*/ 2814145 w 5085316"/>
              <a:gd name="connsiteY18" fmla="*/ 6858000 h 6858000"/>
              <a:gd name="connsiteX19" fmla="*/ 2263738 w 5085316"/>
              <a:gd name="connsiteY19" fmla="*/ 6858000 h 6858000"/>
              <a:gd name="connsiteX20" fmla="*/ 2285379 w 5085316"/>
              <a:gd name="connsiteY20" fmla="*/ 6756138 h 6858000"/>
              <a:gd name="connsiteX21" fmla="*/ 2321863 w 5085316"/>
              <a:gd name="connsiteY21" fmla="*/ 6569394 h 6858000"/>
              <a:gd name="connsiteX22" fmla="*/ 2972653 w 5085316"/>
              <a:gd name="connsiteY22" fmla="*/ 4339900 h 6858000"/>
              <a:gd name="connsiteX23" fmla="*/ 4522504 w 5085316"/>
              <a:gd name="connsiteY23" fmla="*/ 2897654 h 6858000"/>
              <a:gd name="connsiteX24" fmla="*/ 1417643 w 5085316"/>
              <a:gd name="connsiteY24" fmla="*/ 0 h 6858000"/>
              <a:gd name="connsiteX25" fmla="*/ 2906425 w 5085316"/>
              <a:gd name="connsiteY25" fmla="*/ 0 h 6858000"/>
              <a:gd name="connsiteX26" fmla="*/ 2822061 w 5085316"/>
              <a:gd name="connsiteY26" fmla="*/ 136046 h 6858000"/>
              <a:gd name="connsiteX27" fmla="*/ 1742175 w 5085316"/>
              <a:gd name="connsiteY27" fmla="*/ 3039465 h 6858000"/>
              <a:gd name="connsiteX28" fmla="*/ 1729179 w 5085316"/>
              <a:gd name="connsiteY28" fmla="*/ 3065843 h 6858000"/>
              <a:gd name="connsiteX29" fmla="*/ 1742368 w 5085316"/>
              <a:gd name="connsiteY29" fmla="*/ 3092217 h 6858000"/>
              <a:gd name="connsiteX30" fmla="*/ 1795117 w 5085316"/>
              <a:gd name="connsiteY30" fmla="*/ 3065650 h 6858000"/>
              <a:gd name="connsiteX31" fmla="*/ 4268984 w 5085316"/>
              <a:gd name="connsiteY31" fmla="*/ 242203 h 6858000"/>
              <a:gd name="connsiteX32" fmla="*/ 4406440 w 5085316"/>
              <a:gd name="connsiteY32" fmla="*/ 0 h 6858000"/>
              <a:gd name="connsiteX33" fmla="*/ 5085314 w 5085316"/>
              <a:gd name="connsiteY33" fmla="*/ 0 h 6858000"/>
              <a:gd name="connsiteX34" fmla="*/ 5085314 w 5085316"/>
              <a:gd name="connsiteY34" fmla="*/ 147240 h 6858000"/>
              <a:gd name="connsiteX35" fmla="*/ 4933298 w 5085316"/>
              <a:gd name="connsiteY35" fmla="*/ 379343 h 6858000"/>
              <a:gd name="connsiteX36" fmla="*/ 4738476 w 5085316"/>
              <a:gd name="connsiteY36" fmla="*/ 656307 h 6858000"/>
              <a:gd name="connsiteX37" fmla="*/ 1626734 w 5085316"/>
              <a:gd name="connsiteY37" fmla="*/ 3817358 h 6858000"/>
              <a:gd name="connsiteX38" fmla="*/ 1521804 w 5085316"/>
              <a:gd name="connsiteY38" fmla="*/ 3975995 h 6858000"/>
              <a:gd name="connsiteX39" fmla="*/ 1318256 w 5085316"/>
              <a:gd name="connsiteY39" fmla="*/ 5966770 h 6858000"/>
              <a:gd name="connsiteX40" fmla="*/ 1387181 w 5085316"/>
              <a:gd name="connsiteY40" fmla="*/ 6814873 h 6858000"/>
              <a:gd name="connsiteX41" fmla="*/ 1397208 w 5085316"/>
              <a:gd name="connsiteY41" fmla="*/ 6858000 h 6858000"/>
              <a:gd name="connsiteX42" fmla="*/ 67385 w 5085316"/>
              <a:gd name="connsiteY42" fmla="*/ 6858000 h 6858000"/>
              <a:gd name="connsiteX43" fmla="*/ 61203 w 5085316"/>
              <a:gd name="connsiteY43" fmla="*/ 6821267 h 6858000"/>
              <a:gd name="connsiteX44" fmla="*/ 57 w 5085316"/>
              <a:gd name="connsiteY44" fmla="*/ 5918991 h 6858000"/>
              <a:gd name="connsiteX45" fmla="*/ 1075341 w 5085316"/>
              <a:gd name="connsiteY45" fmla="*/ 801561 h 6858000"/>
              <a:gd name="connsiteX46" fmla="*/ 1251556 w 5085316"/>
              <a:gd name="connsiteY46" fmla="*/ 35855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5085316" h="6858000">
                <a:moveTo>
                  <a:pt x="5085316" y="6391986"/>
                </a:moveTo>
                <a:lnTo>
                  <a:pt x="5085316" y="6858000"/>
                </a:lnTo>
                <a:lnTo>
                  <a:pt x="4995142" y="6858000"/>
                </a:lnTo>
                <a:lnTo>
                  <a:pt x="5040632" y="6604731"/>
                </a:lnTo>
                <a:close/>
                <a:moveTo>
                  <a:pt x="4522504" y="2897654"/>
                </a:moveTo>
                <a:cubicBezTo>
                  <a:pt x="4754792" y="2896795"/>
                  <a:pt x="4937388" y="2990650"/>
                  <a:pt x="5075034" y="3148611"/>
                </a:cubicBezTo>
                <a:lnTo>
                  <a:pt x="5085314" y="3161904"/>
                </a:lnTo>
                <a:lnTo>
                  <a:pt x="5085314" y="6391986"/>
                </a:lnTo>
                <a:lnTo>
                  <a:pt x="5040630" y="6604731"/>
                </a:lnTo>
                <a:lnTo>
                  <a:pt x="4995140" y="6858000"/>
                </a:lnTo>
                <a:lnTo>
                  <a:pt x="3676443" y="6858000"/>
                </a:lnTo>
                <a:lnTo>
                  <a:pt x="3694784" y="6740622"/>
                </a:lnTo>
                <a:cubicBezTo>
                  <a:pt x="3770566" y="6297183"/>
                  <a:pt x="3867800" y="5865188"/>
                  <a:pt x="3951992" y="5456270"/>
                </a:cubicBezTo>
                <a:cubicBezTo>
                  <a:pt x="4081194" y="4770508"/>
                  <a:pt x="4145988" y="4427625"/>
                  <a:pt x="4182874" y="3742052"/>
                </a:cubicBezTo>
                <a:cubicBezTo>
                  <a:pt x="4182684" y="3689493"/>
                  <a:pt x="4182492" y="3649929"/>
                  <a:pt x="4156306" y="3649929"/>
                </a:cubicBezTo>
                <a:cubicBezTo>
                  <a:pt x="4130126" y="3649929"/>
                  <a:pt x="4103558" y="3676304"/>
                  <a:pt x="4064184" y="3716250"/>
                </a:cubicBezTo>
                <a:cubicBezTo>
                  <a:pt x="3538967" y="4297851"/>
                  <a:pt x="3225520" y="5010752"/>
                  <a:pt x="3030952" y="5854962"/>
                </a:cubicBezTo>
                <a:cubicBezTo>
                  <a:pt x="2988713" y="6026451"/>
                  <a:pt x="2952256" y="6199564"/>
                  <a:pt x="2916632" y="6372674"/>
                </a:cubicBezTo>
                <a:lnTo>
                  <a:pt x="2814145" y="6858000"/>
                </a:lnTo>
                <a:lnTo>
                  <a:pt x="2263738" y="6858000"/>
                </a:lnTo>
                <a:lnTo>
                  <a:pt x="2285379" y="6756138"/>
                </a:lnTo>
                <a:cubicBezTo>
                  <a:pt x="2298406" y="6691588"/>
                  <a:pt x="2310539" y="6628740"/>
                  <a:pt x="2321863" y="6569394"/>
                </a:cubicBezTo>
                <a:cubicBezTo>
                  <a:pt x="2437687" y="5804698"/>
                  <a:pt x="2645822" y="5052801"/>
                  <a:pt x="2972653" y="4339900"/>
                </a:cubicBezTo>
                <a:cubicBezTo>
                  <a:pt x="3260105" y="3653562"/>
                  <a:pt x="3784560" y="2926706"/>
                  <a:pt x="4522504" y="2897654"/>
                </a:cubicBezTo>
                <a:close/>
                <a:moveTo>
                  <a:pt x="1417643" y="0"/>
                </a:moveTo>
                <a:lnTo>
                  <a:pt x="2906425" y="0"/>
                </a:lnTo>
                <a:lnTo>
                  <a:pt x="2822061" y="136046"/>
                </a:lnTo>
                <a:cubicBezTo>
                  <a:pt x="2292140" y="1036744"/>
                  <a:pt x="1992360" y="2060012"/>
                  <a:pt x="1742175" y="3039465"/>
                </a:cubicBezTo>
                <a:lnTo>
                  <a:pt x="1729179" y="3065843"/>
                </a:lnTo>
                <a:lnTo>
                  <a:pt x="1742368" y="3092217"/>
                </a:lnTo>
                <a:cubicBezTo>
                  <a:pt x="1768743" y="3092217"/>
                  <a:pt x="1781738" y="3079028"/>
                  <a:pt x="1795117" y="3065650"/>
                </a:cubicBezTo>
                <a:cubicBezTo>
                  <a:pt x="2748867" y="2162742"/>
                  <a:pt x="3612327" y="1350999"/>
                  <a:pt x="4268984" y="242203"/>
                </a:cubicBezTo>
                <a:lnTo>
                  <a:pt x="4406440" y="0"/>
                </a:lnTo>
                <a:lnTo>
                  <a:pt x="5085314" y="0"/>
                </a:lnTo>
                <a:lnTo>
                  <a:pt x="5085314" y="147240"/>
                </a:lnTo>
                <a:lnTo>
                  <a:pt x="4933298" y="379343"/>
                </a:lnTo>
                <a:cubicBezTo>
                  <a:pt x="4872280" y="468629"/>
                  <a:pt x="4807330" y="560505"/>
                  <a:pt x="4738476" y="656307"/>
                </a:cubicBezTo>
                <a:cubicBezTo>
                  <a:pt x="3754742" y="1951382"/>
                  <a:pt x="2690549" y="2877969"/>
                  <a:pt x="1626734" y="3817358"/>
                </a:cubicBezTo>
                <a:cubicBezTo>
                  <a:pt x="1560796" y="3857304"/>
                  <a:pt x="1534804" y="3910053"/>
                  <a:pt x="1521804" y="3975995"/>
                </a:cubicBezTo>
                <a:cubicBezTo>
                  <a:pt x="1392413" y="4635571"/>
                  <a:pt x="1315771" y="5307765"/>
                  <a:pt x="1318256" y="5966770"/>
                </a:cubicBezTo>
                <a:cubicBezTo>
                  <a:pt x="1326093" y="6315960"/>
                  <a:pt x="1340188" y="6572882"/>
                  <a:pt x="1387181" y="6814873"/>
                </a:cubicBezTo>
                <a:lnTo>
                  <a:pt x="1397208" y="6858000"/>
                </a:lnTo>
                <a:lnTo>
                  <a:pt x="67385" y="6858000"/>
                </a:lnTo>
                <a:lnTo>
                  <a:pt x="61203" y="6821267"/>
                </a:lnTo>
                <a:cubicBezTo>
                  <a:pt x="15017" y="6506340"/>
                  <a:pt x="1014" y="6190809"/>
                  <a:pt x="57" y="5918991"/>
                </a:cubicBezTo>
                <a:cubicBezTo>
                  <a:pt x="-6250" y="4179350"/>
                  <a:pt x="514001" y="2306117"/>
                  <a:pt x="1075341" y="801561"/>
                </a:cubicBezTo>
                <a:cubicBezTo>
                  <a:pt x="1129167" y="654752"/>
                  <a:pt x="1187930" y="506688"/>
                  <a:pt x="1251556" y="358554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0183B35-E8E5-D8B1-512C-F1D1BCA30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7650" y="604491"/>
            <a:ext cx="1910750" cy="456671"/>
          </a:xfrm>
          <a:prstGeom prst="rect">
            <a:avLst/>
          </a:prstGeom>
        </p:spPr>
      </p:pic>
      <p:sp>
        <p:nvSpPr>
          <p:cNvPr id="13" name="Subtitle 2">
            <a:extLst>
              <a:ext uri="{FF2B5EF4-FFF2-40B4-BE49-F238E27FC236}">
                <a16:creationId xmlns:a16="http://schemas.microsoft.com/office/drawing/2014/main" id="{F4BAC6E8-70D6-03EB-2CF9-73EF399350E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17" y="4359254"/>
            <a:ext cx="8548255" cy="1300978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PK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BADFC970-AC73-A3EA-1D39-CD87A3E84E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939" y="1963717"/>
            <a:ext cx="8570188" cy="2305087"/>
          </a:xfrm>
          <a:prstGeom prst="rect">
            <a:avLst/>
          </a:prstGeom>
        </p:spPr>
        <p:txBody>
          <a:bodyPr lIns="0" tIns="46800" rIns="0" anchor="b">
            <a:noAutofit/>
          </a:bodyPr>
          <a:lstStyle>
            <a:lvl1pPr algn="l">
              <a:lnSpc>
                <a:spcPct val="60000"/>
              </a:lnSpc>
              <a:defRPr sz="7200">
                <a:solidFill>
                  <a:schemeClr val="bg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3236920907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BF429B15-5519-2C6F-8527-46195F599056}"/>
              </a:ext>
            </a:extLst>
          </p:cNvPr>
          <p:cNvSpPr/>
          <p:nvPr userDrawn="1"/>
        </p:nvSpPr>
        <p:spPr>
          <a:xfrm>
            <a:off x="0" y="0"/>
            <a:ext cx="6092561" cy="6858000"/>
          </a:xfrm>
          <a:prstGeom prst="rect">
            <a:avLst/>
          </a:prstGeom>
          <a:gradFill>
            <a:gsLst>
              <a:gs pos="0">
                <a:srgbClr val="1C4C94">
                  <a:alpha val="70000"/>
                </a:srgbClr>
              </a:gs>
              <a:gs pos="99000">
                <a:srgbClr val="0379A8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692138C-F37F-2F37-65DB-69914887707D}"/>
              </a:ext>
            </a:extLst>
          </p:cNvPr>
          <p:cNvSpPr/>
          <p:nvPr userDrawn="1"/>
        </p:nvSpPr>
        <p:spPr>
          <a:xfrm>
            <a:off x="0" y="0"/>
            <a:ext cx="6099442" cy="6858000"/>
          </a:xfrm>
          <a:prstGeom prst="rect">
            <a:avLst/>
          </a:prstGeom>
          <a:gradFill>
            <a:gsLst>
              <a:gs pos="1000">
                <a:srgbClr val="1D6095"/>
              </a:gs>
              <a:gs pos="99000">
                <a:srgbClr val="0178A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8E6C4B41-FEE4-42EF-A4CC-5B1AE1E762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577045" y="1165758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l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A6FACAB6-E88A-4795-0E3C-514F7C66F79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77045" y="2837142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42" name="Text Placeholder 17">
            <a:extLst>
              <a:ext uri="{FF2B5EF4-FFF2-40B4-BE49-F238E27FC236}">
                <a16:creationId xmlns:a16="http://schemas.microsoft.com/office/drawing/2014/main" id="{0B0C0BEB-8A1B-E15D-157E-0CCEE4D2003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77045" y="4508526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570727D9-B007-1628-E384-0F12A1A124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53529" y="421909"/>
            <a:ext cx="1209635" cy="28910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8EA7766-11D0-FB4F-3D4D-55C0A5320C37}"/>
              </a:ext>
            </a:extLst>
          </p:cNvPr>
          <p:cNvCxnSpPr>
            <a:cxnSpLocks/>
          </p:cNvCxnSpPr>
          <p:nvPr userDrawn="1"/>
        </p:nvCxnSpPr>
        <p:spPr>
          <a:xfrm>
            <a:off x="7091397" y="934654"/>
            <a:ext cx="0" cy="5163773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80EBD3A1-38D1-9A23-195C-0A5F57D17AE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77045" y="2001450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E4E24B4A-0856-85DE-C580-CD81393B163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77045" y="3672834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C57F6E4D-88BC-6C59-16E3-1336C1BDBFD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577045" y="5344219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8F2D4774-7A19-26FE-BAFE-61D47E15EE48}"/>
              </a:ext>
            </a:extLst>
          </p:cNvPr>
          <p:cNvSpPr>
            <a:spLocks noGrp="1" noChangeAspect="1"/>
          </p:cNvSpPr>
          <p:nvPr>
            <p:ph type="body" sz="quarter" idx="45" hasCustomPrompt="1"/>
          </p:nvPr>
        </p:nvSpPr>
        <p:spPr>
          <a:xfrm>
            <a:off x="6821780" y="1165758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66F826E9-C23B-16A3-0473-812F0CA37F89}"/>
              </a:ext>
            </a:extLst>
          </p:cNvPr>
          <p:cNvSpPr>
            <a:spLocks noGrp="1" noChangeAspect="1"/>
          </p:cNvSpPr>
          <p:nvPr>
            <p:ph type="body" sz="quarter" idx="46" hasCustomPrompt="1"/>
          </p:nvPr>
        </p:nvSpPr>
        <p:spPr>
          <a:xfrm>
            <a:off x="6821780" y="2001450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3D62A798-8AD2-3E28-1217-DBCFF358AAAC}"/>
              </a:ext>
            </a:extLst>
          </p:cNvPr>
          <p:cNvSpPr>
            <a:spLocks noGrp="1" noChangeAspect="1"/>
          </p:cNvSpPr>
          <p:nvPr>
            <p:ph type="body" sz="quarter" idx="47" hasCustomPrompt="1"/>
          </p:nvPr>
        </p:nvSpPr>
        <p:spPr>
          <a:xfrm>
            <a:off x="6821780" y="2837142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0C8DB805-D6AA-DC93-16E5-14A7CE0A20E4}"/>
              </a:ext>
            </a:extLst>
          </p:cNvPr>
          <p:cNvSpPr>
            <a:spLocks noGrp="1" noChangeAspect="1"/>
          </p:cNvSpPr>
          <p:nvPr>
            <p:ph type="body" sz="quarter" idx="48" hasCustomPrompt="1"/>
          </p:nvPr>
        </p:nvSpPr>
        <p:spPr>
          <a:xfrm>
            <a:off x="6821780" y="3672834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733E2632-6408-C1B1-0197-81EC8778BC93}"/>
              </a:ext>
            </a:extLst>
          </p:cNvPr>
          <p:cNvSpPr>
            <a:spLocks noGrp="1" noChangeAspect="1"/>
          </p:cNvSpPr>
          <p:nvPr>
            <p:ph type="body" sz="quarter" idx="49" hasCustomPrompt="1"/>
          </p:nvPr>
        </p:nvSpPr>
        <p:spPr>
          <a:xfrm>
            <a:off x="6821780" y="4508526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F2A22727-D956-DE93-AEE0-A5BD5D55394D}"/>
              </a:ext>
            </a:extLst>
          </p:cNvPr>
          <p:cNvSpPr>
            <a:spLocks noGrp="1" noChangeAspect="1"/>
          </p:cNvSpPr>
          <p:nvPr>
            <p:ph type="body" sz="quarter" idx="50" hasCustomPrompt="1"/>
          </p:nvPr>
        </p:nvSpPr>
        <p:spPr>
          <a:xfrm>
            <a:off x="6821780" y="5344219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A589B61-EDFA-D2C7-543D-BDBBB984E9D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741251" y="87540"/>
            <a:ext cx="6099442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C7946B9-62ED-E1C9-D784-738B6CE36A06}"/>
              </a:ext>
            </a:extLst>
          </p:cNvPr>
          <p:cNvSpPr/>
          <p:nvPr userDrawn="1"/>
        </p:nvSpPr>
        <p:spPr>
          <a:xfrm>
            <a:off x="6649476" y="87540"/>
            <a:ext cx="6096000" cy="6858000"/>
          </a:xfrm>
          <a:prstGeom prst="rect">
            <a:avLst/>
          </a:prstGeom>
          <a:gradFill>
            <a:gsLst>
              <a:gs pos="0">
                <a:srgbClr val="1C4C94">
                  <a:alpha val="92000"/>
                </a:srgbClr>
              </a:gs>
              <a:gs pos="99000">
                <a:srgbClr val="0379A8">
                  <a:alpha val="75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8AF2802-7DC0-FA3E-81B5-F3CDD924310F}"/>
              </a:ext>
            </a:extLst>
          </p:cNvPr>
          <p:cNvCxnSpPr>
            <a:cxnSpLocks/>
          </p:cNvCxnSpPr>
          <p:nvPr userDrawn="1"/>
        </p:nvCxnSpPr>
        <p:spPr>
          <a:xfrm>
            <a:off x="696693" y="0"/>
            <a:ext cx="0" cy="4849871"/>
          </a:xfrm>
          <a:prstGeom prst="line">
            <a:avLst/>
          </a:prstGeom>
          <a:noFill/>
          <a:ln w="38100" cap="rnd">
            <a:solidFill>
              <a:srgbClr val="F96E46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7" name="Title 1">
            <a:extLst>
              <a:ext uri="{FF2B5EF4-FFF2-40B4-BE49-F238E27FC236}">
                <a16:creationId xmlns:a16="http://schemas.microsoft.com/office/drawing/2014/main" id="{B407A0B8-DA82-9A0D-B74F-959D736A3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3609" y="1782501"/>
            <a:ext cx="3630907" cy="1347842"/>
          </a:xfrm>
          <a:prstGeom prst="rect">
            <a:avLst/>
          </a:prstGeom>
        </p:spPr>
        <p:txBody>
          <a:bodyPr anchor="b"/>
          <a:lstStyle>
            <a:lvl1pPr algn="ctr">
              <a:lnSpc>
                <a:spcPct val="6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3031304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pos="4294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E77DDA1B-74C7-53FC-DB6A-6B4642A991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4010" y="6563561"/>
            <a:ext cx="943356" cy="225463"/>
          </a:xfrm>
          <a:prstGeom prst="rect">
            <a:avLst/>
          </a:prstGeom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74E8A60-FE53-3C52-C496-41844D6E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423599"/>
            <a:ext cx="10801351" cy="612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50000"/>
              </a:lnSpc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1F8E5AF-BB68-A390-BD1F-CDC33905502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95325" y="1159668"/>
            <a:ext cx="10801351" cy="5060149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F578AD08-D63F-B38B-1EEA-666BD88C0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86444" y="6566882"/>
            <a:ext cx="226822" cy="224155"/>
          </a:xfrm>
          <a:prstGeom prst="ellipse">
            <a:avLst/>
          </a:prstGeom>
          <a:ln w="19050">
            <a:solidFill>
              <a:schemeClr val="accent5"/>
            </a:solidFill>
          </a:ln>
        </p:spPr>
        <p:txBody>
          <a:bodyPr lIns="0" tIns="0" rIns="0" bIns="0" anchor="ctr"/>
          <a:lstStyle>
            <a:lvl1pPr algn="ctr">
              <a:defRPr sz="1200" b="0">
                <a:solidFill>
                  <a:schemeClr val="bg1"/>
                </a:solidFill>
                <a:latin typeface="+mj-lt"/>
              </a:defRPr>
            </a:lvl1pPr>
          </a:lstStyle>
          <a:p>
            <a:fld id="{809F87CD-0A17-480A-BA0C-CEA734C9A086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4" name="Afbeelding 3" descr="Afbeelding met Lettertype, logo, Graphics, tekst&#10;&#10;Automatisch gegenereerde beschrijving">
            <a:extLst>
              <a:ext uri="{FF2B5EF4-FFF2-40B4-BE49-F238E27FC236}">
                <a16:creationId xmlns:a16="http://schemas.microsoft.com/office/drawing/2014/main" id="{EE964B6D-9D93-2802-851A-83993425416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936" y="6378594"/>
            <a:ext cx="1192696" cy="284922"/>
          </a:xfrm>
          <a:prstGeom prst="rect">
            <a:avLst/>
          </a:prstGeom>
        </p:spPr>
      </p:pic>
      <p:pic>
        <p:nvPicPr>
          <p:cNvPr id="5" name="Afbeelding 4" descr="Afbeelding met zwart, duisternis&#10;&#10;Automatisch gegenereerde beschrijving">
            <a:extLst>
              <a:ext uri="{FF2B5EF4-FFF2-40B4-BE49-F238E27FC236}">
                <a16:creationId xmlns:a16="http://schemas.microsoft.com/office/drawing/2014/main" id="{C1FE0BAC-4EEB-0AC0-EBE7-79088670DF4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3268" y="6297122"/>
            <a:ext cx="294861" cy="500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071901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731">
          <p15:clr>
            <a:srgbClr val="FBAE40"/>
          </p15:clr>
        </p15:guide>
        <p15:guide id="2" pos="438">
          <p15:clr>
            <a:srgbClr val="FBAE40"/>
          </p15:clr>
        </p15:guide>
        <p15:guide id="3" pos="7242">
          <p15:clr>
            <a:srgbClr val="FBAE40"/>
          </p15:clr>
        </p15:guide>
        <p15:guide id="4" orient="horz" pos="3929">
          <p15:clr>
            <a:srgbClr val="FBAE40"/>
          </p15:clr>
        </p15:guide>
        <p15:guide id="5" orient="horz" pos="34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5963F76-9109-6F65-6235-1DE7A2E012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177A3"/>
              </a:gs>
              <a:gs pos="100000">
                <a:srgbClr val="1C609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0E0D1636-63D9-AE84-54BF-7E9D45D07715}"/>
              </a:ext>
            </a:extLst>
          </p:cNvPr>
          <p:cNvSpPr/>
          <p:nvPr userDrawn="1"/>
        </p:nvSpPr>
        <p:spPr>
          <a:xfrm>
            <a:off x="7106685" y="0"/>
            <a:ext cx="5085315" cy="6858000"/>
          </a:xfrm>
          <a:custGeom>
            <a:avLst/>
            <a:gdLst>
              <a:gd name="connsiteX0" fmla="*/ 5085315 w 5085315"/>
              <a:gd name="connsiteY0" fmla="*/ 6391986 h 6858000"/>
              <a:gd name="connsiteX1" fmla="*/ 5085315 w 5085315"/>
              <a:gd name="connsiteY1" fmla="*/ 6858000 h 6858000"/>
              <a:gd name="connsiteX2" fmla="*/ 4995141 w 5085315"/>
              <a:gd name="connsiteY2" fmla="*/ 6858000 h 6858000"/>
              <a:gd name="connsiteX3" fmla="*/ 5040631 w 5085315"/>
              <a:gd name="connsiteY3" fmla="*/ 6604731 h 6858000"/>
              <a:gd name="connsiteX4" fmla="*/ 4522503 w 5085315"/>
              <a:gd name="connsiteY4" fmla="*/ 2897654 h 6858000"/>
              <a:gd name="connsiteX5" fmla="*/ 5075033 w 5085315"/>
              <a:gd name="connsiteY5" fmla="*/ 3148611 h 6858000"/>
              <a:gd name="connsiteX6" fmla="*/ 5085313 w 5085315"/>
              <a:gd name="connsiteY6" fmla="*/ 3161904 h 6858000"/>
              <a:gd name="connsiteX7" fmla="*/ 5085313 w 5085315"/>
              <a:gd name="connsiteY7" fmla="*/ 6391986 h 6858000"/>
              <a:gd name="connsiteX8" fmla="*/ 5040629 w 5085315"/>
              <a:gd name="connsiteY8" fmla="*/ 6604731 h 6858000"/>
              <a:gd name="connsiteX9" fmla="*/ 4995139 w 5085315"/>
              <a:gd name="connsiteY9" fmla="*/ 6858000 h 6858000"/>
              <a:gd name="connsiteX10" fmla="*/ 3676442 w 5085315"/>
              <a:gd name="connsiteY10" fmla="*/ 6858000 h 6858000"/>
              <a:gd name="connsiteX11" fmla="*/ 3694783 w 5085315"/>
              <a:gd name="connsiteY11" fmla="*/ 6740622 h 6858000"/>
              <a:gd name="connsiteX12" fmla="*/ 3951991 w 5085315"/>
              <a:gd name="connsiteY12" fmla="*/ 5456270 h 6858000"/>
              <a:gd name="connsiteX13" fmla="*/ 4182873 w 5085315"/>
              <a:gd name="connsiteY13" fmla="*/ 3742052 h 6858000"/>
              <a:gd name="connsiteX14" fmla="*/ 4156305 w 5085315"/>
              <a:gd name="connsiteY14" fmla="*/ 3649929 h 6858000"/>
              <a:gd name="connsiteX15" fmla="*/ 4064183 w 5085315"/>
              <a:gd name="connsiteY15" fmla="*/ 3716250 h 6858000"/>
              <a:gd name="connsiteX16" fmla="*/ 3030951 w 5085315"/>
              <a:gd name="connsiteY16" fmla="*/ 5854962 h 6858000"/>
              <a:gd name="connsiteX17" fmla="*/ 2916631 w 5085315"/>
              <a:gd name="connsiteY17" fmla="*/ 6372674 h 6858000"/>
              <a:gd name="connsiteX18" fmla="*/ 2814144 w 5085315"/>
              <a:gd name="connsiteY18" fmla="*/ 6858000 h 6858000"/>
              <a:gd name="connsiteX19" fmla="*/ 2263737 w 5085315"/>
              <a:gd name="connsiteY19" fmla="*/ 6858000 h 6858000"/>
              <a:gd name="connsiteX20" fmla="*/ 2285378 w 5085315"/>
              <a:gd name="connsiteY20" fmla="*/ 6756138 h 6858000"/>
              <a:gd name="connsiteX21" fmla="*/ 2321862 w 5085315"/>
              <a:gd name="connsiteY21" fmla="*/ 6569394 h 6858000"/>
              <a:gd name="connsiteX22" fmla="*/ 2972652 w 5085315"/>
              <a:gd name="connsiteY22" fmla="*/ 4339900 h 6858000"/>
              <a:gd name="connsiteX23" fmla="*/ 4522503 w 5085315"/>
              <a:gd name="connsiteY23" fmla="*/ 2897654 h 6858000"/>
              <a:gd name="connsiteX24" fmla="*/ 1417642 w 5085315"/>
              <a:gd name="connsiteY24" fmla="*/ 0 h 6858000"/>
              <a:gd name="connsiteX25" fmla="*/ 2906424 w 5085315"/>
              <a:gd name="connsiteY25" fmla="*/ 0 h 6858000"/>
              <a:gd name="connsiteX26" fmla="*/ 2822060 w 5085315"/>
              <a:gd name="connsiteY26" fmla="*/ 136046 h 6858000"/>
              <a:gd name="connsiteX27" fmla="*/ 1742174 w 5085315"/>
              <a:gd name="connsiteY27" fmla="*/ 3039465 h 6858000"/>
              <a:gd name="connsiteX28" fmla="*/ 1729178 w 5085315"/>
              <a:gd name="connsiteY28" fmla="*/ 3065843 h 6858000"/>
              <a:gd name="connsiteX29" fmla="*/ 1742367 w 5085315"/>
              <a:gd name="connsiteY29" fmla="*/ 3092217 h 6858000"/>
              <a:gd name="connsiteX30" fmla="*/ 1795116 w 5085315"/>
              <a:gd name="connsiteY30" fmla="*/ 3065650 h 6858000"/>
              <a:gd name="connsiteX31" fmla="*/ 4268983 w 5085315"/>
              <a:gd name="connsiteY31" fmla="*/ 242203 h 6858000"/>
              <a:gd name="connsiteX32" fmla="*/ 4406439 w 5085315"/>
              <a:gd name="connsiteY32" fmla="*/ 0 h 6858000"/>
              <a:gd name="connsiteX33" fmla="*/ 5085313 w 5085315"/>
              <a:gd name="connsiteY33" fmla="*/ 0 h 6858000"/>
              <a:gd name="connsiteX34" fmla="*/ 5085313 w 5085315"/>
              <a:gd name="connsiteY34" fmla="*/ 147240 h 6858000"/>
              <a:gd name="connsiteX35" fmla="*/ 4933297 w 5085315"/>
              <a:gd name="connsiteY35" fmla="*/ 379343 h 6858000"/>
              <a:gd name="connsiteX36" fmla="*/ 4738475 w 5085315"/>
              <a:gd name="connsiteY36" fmla="*/ 656307 h 6858000"/>
              <a:gd name="connsiteX37" fmla="*/ 1626733 w 5085315"/>
              <a:gd name="connsiteY37" fmla="*/ 3817358 h 6858000"/>
              <a:gd name="connsiteX38" fmla="*/ 1521803 w 5085315"/>
              <a:gd name="connsiteY38" fmla="*/ 3975995 h 6858000"/>
              <a:gd name="connsiteX39" fmla="*/ 1318255 w 5085315"/>
              <a:gd name="connsiteY39" fmla="*/ 5966770 h 6858000"/>
              <a:gd name="connsiteX40" fmla="*/ 1387180 w 5085315"/>
              <a:gd name="connsiteY40" fmla="*/ 6814873 h 6858000"/>
              <a:gd name="connsiteX41" fmla="*/ 1397207 w 5085315"/>
              <a:gd name="connsiteY41" fmla="*/ 6858000 h 6858000"/>
              <a:gd name="connsiteX42" fmla="*/ 67384 w 5085315"/>
              <a:gd name="connsiteY42" fmla="*/ 6858000 h 6858000"/>
              <a:gd name="connsiteX43" fmla="*/ 61202 w 5085315"/>
              <a:gd name="connsiteY43" fmla="*/ 6821267 h 6858000"/>
              <a:gd name="connsiteX44" fmla="*/ 56 w 5085315"/>
              <a:gd name="connsiteY44" fmla="*/ 5918991 h 6858000"/>
              <a:gd name="connsiteX45" fmla="*/ 1075340 w 5085315"/>
              <a:gd name="connsiteY45" fmla="*/ 801561 h 6858000"/>
              <a:gd name="connsiteX46" fmla="*/ 1251555 w 5085315"/>
              <a:gd name="connsiteY46" fmla="*/ 35855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5085315" h="6858000">
                <a:moveTo>
                  <a:pt x="5085315" y="6391986"/>
                </a:moveTo>
                <a:lnTo>
                  <a:pt x="5085315" y="6858000"/>
                </a:lnTo>
                <a:lnTo>
                  <a:pt x="4995141" y="6858000"/>
                </a:lnTo>
                <a:lnTo>
                  <a:pt x="5040631" y="6604731"/>
                </a:lnTo>
                <a:close/>
                <a:moveTo>
                  <a:pt x="4522503" y="2897654"/>
                </a:moveTo>
                <a:cubicBezTo>
                  <a:pt x="4754791" y="2896795"/>
                  <a:pt x="4937387" y="2990650"/>
                  <a:pt x="5075033" y="3148611"/>
                </a:cubicBezTo>
                <a:lnTo>
                  <a:pt x="5085313" y="3161904"/>
                </a:lnTo>
                <a:lnTo>
                  <a:pt x="5085313" y="6391986"/>
                </a:lnTo>
                <a:lnTo>
                  <a:pt x="5040629" y="6604731"/>
                </a:lnTo>
                <a:lnTo>
                  <a:pt x="4995139" y="6858000"/>
                </a:lnTo>
                <a:lnTo>
                  <a:pt x="3676442" y="6858000"/>
                </a:lnTo>
                <a:lnTo>
                  <a:pt x="3694783" y="6740622"/>
                </a:lnTo>
                <a:cubicBezTo>
                  <a:pt x="3770565" y="6297183"/>
                  <a:pt x="3867799" y="5865188"/>
                  <a:pt x="3951991" y="5456270"/>
                </a:cubicBezTo>
                <a:cubicBezTo>
                  <a:pt x="4081193" y="4770508"/>
                  <a:pt x="4145987" y="4427625"/>
                  <a:pt x="4182873" y="3742052"/>
                </a:cubicBezTo>
                <a:cubicBezTo>
                  <a:pt x="4182683" y="3689493"/>
                  <a:pt x="4182491" y="3649929"/>
                  <a:pt x="4156305" y="3649929"/>
                </a:cubicBezTo>
                <a:cubicBezTo>
                  <a:pt x="4130125" y="3649929"/>
                  <a:pt x="4103557" y="3676304"/>
                  <a:pt x="4064183" y="3716250"/>
                </a:cubicBezTo>
                <a:cubicBezTo>
                  <a:pt x="3538966" y="4297851"/>
                  <a:pt x="3225519" y="5010752"/>
                  <a:pt x="3030951" y="5854962"/>
                </a:cubicBezTo>
                <a:cubicBezTo>
                  <a:pt x="2988712" y="6026451"/>
                  <a:pt x="2952255" y="6199564"/>
                  <a:pt x="2916631" y="6372674"/>
                </a:cubicBezTo>
                <a:lnTo>
                  <a:pt x="2814144" y="6858000"/>
                </a:lnTo>
                <a:lnTo>
                  <a:pt x="2263737" y="6858000"/>
                </a:lnTo>
                <a:lnTo>
                  <a:pt x="2285378" y="6756138"/>
                </a:lnTo>
                <a:cubicBezTo>
                  <a:pt x="2298405" y="6691588"/>
                  <a:pt x="2310538" y="6628740"/>
                  <a:pt x="2321862" y="6569394"/>
                </a:cubicBezTo>
                <a:cubicBezTo>
                  <a:pt x="2437686" y="5804698"/>
                  <a:pt x="2645821" y="5052801"/>
                  <a:pt x="2972652" y="4339900"/>
                </a:cubicBezTo>
                <a:cubicBezTo>
                  <a:pt x="3260104" y="3653562"/>
                  <a:pt x="3784559" y="2926706"/>
                  <a:pt x="4522503" y="2897654"/>
                </a:cubicBezTo>
                <a:close/>
                <a:moveTo>
                  <a:pt x="1417642" y="0"/>
                </a:moveTo>
                <a:lnTo>
                  <a:pt x="2906424" y="0"/>
                </a:lnTo>
                <a:lnTo>
                  <a:pt x="2822060" y="136046"/>
                </a:lnTo>
                <a:cubicBezTo>
                  <a:pt x="2292139" y="1036744"/>
                  <a:pt x="1992359" y="2060012"/>
                  <a:pt x="1742174" y="3039465"/>
                </a:cubicBezTo>
                <a:lnTo>
                  <a:pt x="1729178" y="3065843"/>
                </a:lnTo>
                <a:lnTo>
                  <a:pt x="1742367" y="3092217"/>
                </a:lnTo>
                <a:cubicBezTo>
                  <a:pt x="1768742" y="3092217"/>
                  <a:pt x="1781737" y="3079028"/>
                  <a:pt x="1795116" y="3065650"/>
                </a:cubicBezTo>
                <a:cubicBezTo>
                  <a:pt x="2748866" y="2162742"/>
                  <a:pt x="3612326" y="1350999"/>
                  <a:pt x="4268983" y="242203"/>
                </a:cubicBezTo>
                <a:lnTo>
                  <a:pt x="4406439" y="0"/>
                </a:lnTo>
                <a:lnTo>
                  <a:pt x="5085313" y="0"/>
                </a:lnTo>
                <a:lnTo>
                  <a:pt x="5085313" y="147240"/>
                </a:lnTo>
                <a:lnTo>
                  <a:pt x="4933297" y="379343"/>
                </a:lnTo>
                <a:cubicBezTo>
                  <a:pt x="4872279" y="468629"/>
                  <a:pt x="4807329" y="560505"/>
                  <a:pt x="4738475" y="656307"/>
                </a:cubicBezTo>
                <a:cubicBezTo>
                  <a:pt x="3754741" y="1951382"/>
                  <a:pt x="2690548" y="2877969"/>
                  <a:pt x="1626733" y="3817358"/>
                </a:cubicBezTo>
                <a:cubicBezTo>
                  <a:pt x="1560795" y="3857304"/>
                  <a:pt x="1534803" y="3910053"/>
                  <a:pt x="1521803" y="3975995"/>
                </a:cubicBezTo>
                <a:cubicBezTo>
                  <a:pt x="1392412" y="4635571"/>
                  <a:pt x="1315770" y="5307765"/>
                  <a:pt x="1318255" y="5966770"/>
                </a:cubicBezTo>
                <a:cubicBezTo>
                  <a:pt x="1326092" y="6315960"/>
                  <a:pt x="1340187" y="6572882"/>
                  <a:pt x="1387180" y="6814873"/>
                </a:cubicBezTo>
                <a:lnTo>
                  <a:pt x="1397207" y="6858000"/>
                </a:lnTo>
                <a:lnTo>
                  <a:pt x="67384" y="6858000"/>
                </a:lnTo>
                <a:lnTo>
                  <a:pt x="61202" y="6821267"/>
                </a:lnTo>
                <a:cubicBezTo>
                  <a:pt x="15016" y="6506340"/>
                  <a:pt x="1013" y="6190809"/>
                  <a:pt x="56" y="5918991"/>
                </a:cubicBezTo>
                <a:cubicBezTo>
                  <a:pt x="-6251" y="4179350"/>
                  <a:pt x="514000" y="2306117"/>
                  <a:pt x="1075340" y="801561"/>
                </a:cubicBezTo>
                <a:cubicBezTo>
                  <a:pt x="1129166" y="654752"/>
                  <a:pt x="1187929" y="506688"/>
                  <a:pt x="1251555" y="358554"/>
                </a:cubicBezTo>
                <a:close/>
              </a:path>
            </a:pathLst>
          </a:custGeom>
          <a:solidFill>
            <a:srgbClr val="58A0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DE5F25C-DB68-C2FE-197B-63ADE36EC90E}"/>
              </a:ext>
            </a:extLst>
          </p:cNvPr>
          <p:cNvCxnSpPr>
            <a:cxnSpLocks/>
          </p:cNvCxnSpPr>
          <p:nvPr userDrawn="1"/>
        </p:nvCxnSpPr>
        <p:spPr>
          <a:xfrm>
            <a:off x="0" y="4085203"/>
            <a:ext cx="7000240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B335E10-390F-7CA7-891C-E957E5860526}"/>
              </a:ext>
            </a:extLst>
          </p:cNvPr>
          <p:cNvCxnSpPr>
            <a:cxnSpLocks/>
          </p:cNvCxnSpPr>
          <p:nvPr userDrawn="1"/>
        </p:nvCxnSpPr>
        <p:spPr>
          <a:xfrm>
            <a:off x="527650" y="4085203"/>
            <a:ext cx="1019210" cy="0"/>
          </a:xfrm>
          <a:prstGeom prst="line">
            <a:avLst/>
          </a:prstGeom>
          <a:ln w="381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B0183B35-E8E5-D8B1-512C-F1D1BCA30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7650" y="604491"/>
            <a:ext cx="1910750" cy="456671"/>
          </a:xfrm>
          <a:prstGeom prst="rect">
            <a:avLst/>
          </a:prstGeom>
        </p:spPr>
      </p:pic>
      <p:sp>
        <p:nvSpPr>
          <p:cNvPr id="18" name="Subtitle 2">
            <a:extLst>
              <a:ext uri="{FF2B5EF4-FFF2-40B4-BE49-F238E27FC236}">
                <a16:creationId xmlns:a16="http://schemas.microsoft.com/office/drawing/2014/main" id="{1887BD83-EA65-BC96-110C-A4982ED040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330" y="4223522"/>
            <a:ext cx="8556842" cy="1300978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PK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0B388D60-E8E6-C03C-7C74-F951BA7D47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7330" y="3075057"/>
            <a:ext cx="8556842" cy="1115890"/>
          </a:xfrm>
          <a:prstGeom prst="rect">
            <a:avLst/>
          </a:prstGeom>
        </p:spPr>
        <p:txBody>
          <a:bodyPr lIns="0" tIns="46800" rIns="0" anchor="t">
            <a:noAutofit/>
          </a:bodyPr>
          <a:lstStyle>
            <a:lvl1pPr algn="l">
              <a:lnSpc>
                <a:spcPct val="100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1604640673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BF429B15-5519-2C6F-8527-46195F599056}"/>
              </a:ext>
            </a:extLst>
          </p:cNvPr>
          <p:cNvSpPr/>
          <p:nvPr userDrawn="1"/>
        </p:nvSpPr>
        <p:spPr>
          <a:xfrm>
            <a:off x="6093600" y="0"/>
            <a:ext cx="6098400" cy="6858000"/>
          </a:xfrm>
          <a:prstGeom prst="rect">
            <a:avLst/>
          </a:prstGeom>
          <a:gradFill>
            <a:gsLst>
              <a:gs pos="0">
                <a:schemeClr val="accent2">
                  <a:alpha val="70000"/>
                </a:schemeClr>
              </a:gs>
              <a:gs pos="99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D4C1FD7-76B6-5D88-CDD3-678848765C41}"/>
              </a:ext>
            </a:extLst>
          </p:cNvPr>
          <p:cNvSpPr/>
          <p:nvPr userDrawn="1"/>
        </p:nvSpPr>
        <p:spPr>
          <a:xfrm>
            <a:off x="6092558" y="0"/>
            <a:ext cx="6099442" cy="6858000"/>
          </a:xfrm>
          <a:prstGeom prst="rect">
            <a:avLst/>
          </a:prstGeom>
          <a:gradFill flip="none" rotWithShape="1">
            <a:gsLst>
              <a:gs pos="1000">
                <a:srgbClr val="1D6095"/>
              </a:gs>
              <a:gs pos="99000">
                <a:srgbClr val="0178A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E838168-ECDE-63BE-5F3E-E6CB0C5505D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093600" y="0"/>
            <a:ext cx="60984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69C9A99-CEFD-76C2-DC01-163BC7F302A9}"/>
              </a:ext>
            </a:extLst>
          </p:cNvPr>
          <p:cNvCxnSpPr>
            <a:cxnSpLocks/>
          </p:cNvCxnSpPr>
          <p:nvPr userDrawn="1"/>
        </p:nvCxnSpPr>
        <p:spPr>
          <a:xfrm>
            <a:off x="711430" y="17780"/>
            <a:ext cx="1883224" cy="0"/>
          </a:xfrm>
          <a:prstGeom prst="line">
            <a:avLst/>
          </a:prstGeom>
          <a:noFill/>
          <a:ln w="38100" cap="rnd">
            <a:solidFill>
              <a:srgbClr val="F96E46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A1F54D7-57C0-9678-3F7B-09CAA426C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6" y="417952"/>
            <a:ext cx="4679950" cy="1224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35486DB-DE52-EF36-1742-7F4A290F6F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95290" y="1661354"/>
            <a:ext cx="4679949" cy="4558463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0ADEA059-C729-514C-E678-A9F7A7F1F8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8622" y="6393083"/>
            <a:ext cx="943356" cy="225463"/>
          </a:xfrm>
          <a:prstGeom prst="rect">
            <a:avLst/>
          </a:prstGeom>
        </p:spPr>
      </p:pic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D61050BD-FCC2-0CD2-EDA5-3A2AF8F828FC}"/>
              </a:ext>
            </a:extLst>
          </p:cNvPr>
          <p:cNvSpPr txBox="1">
            <a:spLocks/>
          </p:cNvSpPr>
          <p:nvPr userDrawn="1"/>
        </p:nvSpPr>
        <p:spPr>
          <a:xfrm>
            <a:off x="5184338" y="6396404"/>
            <a:ext cx="226822" cy="224155"/>
          </a:xfrm>
          <a:prstGeom prst="ellipse">
            <a:avLst/>
          </a:prstGeom>
          <a:ln w="19050">
            <a:solidFill>
              <a:schemeClr val="accent5"/>
            </a:solidFill>
          </a:ln>
        </p:spPr>
        <p:txBody>
          <a:bodyPr lIns="0" tIns="0" rIns="0" bIns="0" anchor="ctr"/>
          <a:lstStyle>
            <a:defPPr>
              <a:defRPr lang="en-US"/>
            </a:defPPr>
            <a:lvl1pPr marL="0" algn="ctr" defTabSz="228600" rtl="0" eaLnBrk="1" latinLnBrk="0" hangingPunct="1">
              <a:defRPr sz="12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09F87CD-0A17-480A-BA0C-CEA734C9A086}" type="slidenum">
              <a:rPr lang="en-US" smtClean="0">
                <a:solidFill>
                  <a:schemeClr val="accent1"/>
                </a:solidFill>
              </a:rPr>
              <a:pPr/>
              <a:t>‹nr.›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511CB6A-AC61-D56D-7E38-75FC85D18CF7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1341848"/>
            <a:ext cx="360000" cy="36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402C159-0DF3-218D-3C9E-F184C0556BF5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3412616"/>
            <a:ext cx="360000" cy="36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5F0009B-8A96-C45C-5C26-44B3C7F63F06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1859540"/>
            <a:ext cx="360000" cy="3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C7C1B84-80D9-8EDB-DE33-F1962543F519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2377232"/>
            <a:ext cx="360000" cy="36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16542EE-DF57-EF0C-1A8B-DE107EE2AE2D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2894924"/>
            <a:ext cx="360000" cy="36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6C71E18-6A65-D371-6DA8-98D43AFB6F1D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3930308"/>
            <a:ext cx="360000" cy="36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CDCC81D-5D0B-4F22-A053-C4ADFE21568A}"/>
              </a:ext>
            </a:extLst>
          </p:cNvPr>
          <p:cNvSpPr txBox="1"/>
          <p:nvPr userDrawn="1"/>
        </p:nvSpPr>
        <p:spPr>
          <a:xfrm>
            <a:off x="-2709668" y="1321794"/>
            <a:ext cx="2058824" cy="400110"/>
          </a:xfrm>
          <a:prstGeom prst="rect">
            <a:avLst/>
          </a:prstGeom>
          <a:noFill/>
        </p:spPr>
        <p:txBody>
          <a:bodyPr wrap="none" lIns="36000" rIns="36000" rtlCol="0" anchor="ctr">
            <a:spAutoFit/>
          </a:bodyPr>
          <a:lstStyle/>
          <a:p>
            <a:pPr algn="r"/>
            <a:r>
              <a:rPr lang="en-NL" sz="1000">
                <a:solidFill>
                  <a:schemeClr val="accent5"/>
                </a:solidFill>
              </a:rPr>
              <a:t>Use color for titles</a:t>
            </a:r>
          </a:p>
          <a:p>
            <a:pPr algn="r"/>
            <a:r>
              <a:rPr lang="en-NL" sz="1000">
                <a:solidFill>
                  <a:schemeClr val="accent5"/>
                </a:solidFill>
              </a:rPr>
              <a:t>Font type title: </a:t>
            </a:r>
            <a:r>
              <a:rPr lang="en-GB" sz="1000">
                <a:solidFill>
                  <a:schemeClr val="accent5"/>
                </a:solidFill>
              </a:rPr>
              <a:t>Browallia New, size 44</a:t>
            </a:r>
            <a:endParaRPr lang="en-NL" sz="1000">
              <a:solidFill>
                <a:schemeClr val="accent5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80E8089-B39E-8EC8-5D58-7EA046873B5F}"/>
              </a:ext>
            </a:extLst>
          </p:cNvPr>
          <p:cNvSpPr txBox="1"/>
          <p:nvPr userDrawn="1"/>
        </p:nvSpPr>
        <p:spPr>
          <a:xfrm>
            <a:off x="-2291285" y="3910251"/>
            <a:ext cx="1640441" cy="400110"/>
          </a:xfrm>
          <a:prstGeom prst="rect">
            <a:avLst/>
          </a:prstGeom>
          <a:noFill/>
        </p:spPr>
        <p:txBody>
          <a:bodyPr wrap="none" lIns="36000" rIns="36000" rtlCol="0" anchor="ctr">
            <a:spAutoFit/>
          </a:bodyPr>
          <a:lstStyle/>
          <a:p>
            <a:pPr algn="r"/>
            <a:r>
              <a:rPr lang="en-NL" sz="1000">
                <a:solidFill>
                  <a:schemeClr val="accent5"/>
                </a:solidFill>
              </a:rPr>
              <a:t>Use color for text</a:t>
            </a:r>
          </a:p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NL" sz="1000">
                <a:solidFill>
                  <a:schemeClr val="accent5"/>
                </a:solidFill>
              </a:rPr>
              <a:t>Font type text: Corbel</a:t>
            </a:r>
            <a:r>
              <a:rPr lang="en-GB" sz="1000">
                <a:solidFill>
                  <a:schemeClr val="accent5"/>
                </a:solidFill>
              </a:rPr>
              <a:t>, size 14</a:t>
            </a:r>
            <a:endParaRPr lang="en-NL" sz="1000">
              <a:solidFill>
                <a:schemeClr val="accent5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6747DC8-131A-7763-2F79-F318C3CE708B}"/>
              </a:ext>
            </a:extLst>
          </p:cNvPr>
          <p:cNvSpPr/>
          <p:nvPr userDrawn="1"/>
        </p:nvSpPr>
        <p:spPr>
          <a:xfrm>
            <a:off x="6093600" y="0"/>
            <a:ext cx="6098400" cy="6858000"/>
          </a:xfrm>
          <a:prstGeom prst="rect">
            <a:avLst/>
          </a:prstGeom>
          <a:gradFill>
            <a:gsLst>
              <a:gs pos="0">
                <a:srgbClr val="1C4C94">
                  <a:alpha val="88000"/>
                </a:srgbClr>
              </a:gs>
              <a:gs pos="99000">
                <a:srgbClr val="0379A8">
                  <a:alpha val="59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4670273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3386">
          <p15:clr>
            <a:srgbClr val="FBAE40"/>
          </p15:clr>
        </p15:guide>
        <p15:guide id="5" orient="horz" pos="34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92138C-F37F-2F37-65DB-69914887707D}"/>
              </a:ext>
            </a:extLst>
          </p:cNvPr>
          <p:cNvSpPr/>
          <p:nvPr userDrawn="1"/>
        </p:nvSpPr>
        <p:spPr>
          <a:xfrm>
            <a:off x="0" y="0"/>
            <a:ext cx="6099442" cy="6858000"/>
          </a:xfrm>
          <a:prstGeom prst="rect">
            <a:avLst/>
          </a:prstGeom>
          <a:gradFill>
            <a:gsLst>
              <a:gs pos="1000">
                <a:srgbClr val="1D6095"/>
              </a:gs>
              <a:gs pos="99000">
                <a:srgbClr val="0178A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A589B61-EDFA-D2C7-543D-BDBBB984E9D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0"/>
            <a:ext cx="6099442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F429B15-5519-2C6F-8527-46195F599056}"/>
              </a:ext>
            </a:extLst>
          </p:cNvPr>
          <p:cNvSpPr/>
          <p:nvPr userDrawn="1"/>
        </p:nvSpPr>
        <p:spPr>
          <a:xfrm>
            <a:off x="0" y="0"/>
            <a:ext cx="6098400" cy="6858000"/>
          </a:xfrm>
          <a:prstGeom prst="rect">
            <a:avLst/>
          </a:prstGeom>
          <a:gradFill>
            <a:gsLst>
              <a:gs pos="0">
                <a:srgbClr val="1C4C94">
                  <a:alpha val="70000"/>
                </a:srgbClr>
              </a:gs>
              <a:gs pos="99000">
                <a:srgbClr val="0379A8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A326497-0FDA-04A3-A9C4-D92DD339A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6726" y="417952"/>
            <a:ext cx="4679986" cy="1224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418E937-3933-87E6-D115-0782B4BC8A6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816726" y="1661354"/>
            <a:ext cx="4679950" cy="4558463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D9347A7-FB35-57F2-FA90-08568BF79F99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1341848"/>
            <a:ext cx="360000" cy="36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336033C-2E4B-29F1-0C13-CDC1B8218A3D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3412616"/>
            <a:ext cx="360000" cy="36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1C0FF8A-3C1F-DDA6-6017-F2DC6D677930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1859540"/>
            <a:ext cx="360000" cy="3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5077595-E2AB-5A16-8BB7-DF8F9626E6E5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2377232"/>
            <a:ext cx="360000" cy="36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CF381E7-50F7-4095-2097-AFA74AF4FC92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2894924"/>
            <a:ext cx="360000" cy="36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2FDD880-00B2-2CE6-00B0-54EF2A0CC23B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3930308"/>
            <a:ext cx="360000" cy="36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95AF8A3-C501-5DF6-9CD9-DCAE340F34E3}"/>
              </a:ext>
            </a:extLst>
          </p:cNvPr>
          <p:cNvSpPr txBox="1"/>
          <p:nvPr userDrawn="1"/>
        </p:nvSpPr>
        <p:spPr>
          <a:xfrm>
            <a:off x="-2709668" y="1321794"/>
            <a:ext cx="2058824" cy="400110"/>
          </a:xfrm>
          <a:prstGeom prst="rect">
            <a:avLst/>
          </a:prstGeom>
          <a:noFill/>
        </p:spPr>
        <p:txBody>
          <a:bodyPr wrap="none" lIns="36000" rIns="36000" rtlCol="0" anchor="ctr">
            <a:spAutoFit/>
          </a:bodyPr>
          <a:lstStyle/>
          <a:p>
            <a:pPr algn="r"/>
            <a:r>
              <a:rPr lang="en-NL" sz="1000">
                <a:solidFill>
                  <a:schemeClr val="accent5"/>
                </a:solidFill>
              </a:rPr>
              <a:t>Use color for titles</a:t>
            </a:r>
          </a:p>
          <a:p>
            <a:pPr algn="r"/>
            <a:r>
              <a:rPr lang="en-NL" sz="1000">
                <a:solidFill>
                  <a:schemeClr val="accent5"/>
                </a:solidFill>
              </a:rPr>
              <a:t>Font type title: </a:t>
            </a:r>
            <a:r>
              <a:rPr lang="en-GB" sz="1000">
                <a:solidFill>
                  <a:schemeClr val="accent5"/>
                </a:solidFill>
              </a:rPr>
              <a:t>Browallia New, size 44</a:t>
            </a:r>
            <a:endParaRPr lang="en-NL" sz="1000">
              <a:solidFill>
                <a:schemeClr val="accent5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B262EFC-0629-464B-8132-A6C20DE4DAF5}"/>
              </a:ext>
            </a:extLst>
          </p:cNvPr>
          <p:cNvSpPr txBox="1"/>
          <p:nvPr userDrawn="1"/>
        </p:nvSpPr>
        <p:spPr>
          <a:xfrm>
            <a:off x="-2291285" y="3910251"/>
            <a:ext cx="1640441" cy="400110"/>
          </a:xfrm>
          <a:prstGeom prst="rect">
            <a:avLst/>
          </a:prstGeom>
          <a:noFill/>
        </p:spPr>
        <p:txBody>
          <a:bodyPr wrap="none" lIns="36000" rIns="36000" rtlCol="0" anchor="ctr">
            <a:spAutoFit/>
          </a:bodyPr>
          <a:lstStyle/>
          <a:p>
            <a:pPr algn="r"/>
            <a:r>
              <a:rPr lang="en-NL" sz="1000">
                <a:solidFill>
                  <a:schemeClr val="accent5"/>
                </a:solidFill>
              </a:rPr>
              <a:t>Use color for text</a:t>
            </a:r>
          </a:p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NL" sz="1000">
                <a:solidFill>
                  <a:schemeClr val="accent5"/>
                </a:solidFill>
              </a:rPr>
              <a:t>Font type text: Corbel</a:t>
            </a:r>
            <a:r>
              <a:rPr lang="en-GB" sz="1000">
                <a:solidFill>
                  <a:schemeClr val="accent5"/>
                </a:solidFill>
              </a:rPr>
              <a:t>, size 14</a:t>
            </a:r>
            <a:endParaRPr lang="en-NL" sz="1000">
              <a:solidFill>
                <a:schemeClr val="accent5"/>
              </a:solidFill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8E5AA66-B3B6-43E5-E415-E1E05C824B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16726" y="6393083"/>
            <a:ext cx="943356" cy="225463"/>
          </a:xfrm>
          <a:prstGeom prst="rect">
            <a:avLst/>
          </a:prstGeom>
        </p:spPr>
      </p:pic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4A911F3D-5ACF-D865-EF3F-411CAE11C4D5}"/>
              </a:ext>
            </a:extLst>
          </p:cNvPr>
          <p:cNvSpPr txBox="1">
            <a:spLocks/>
          </p:cNvSpPr>
          <p:nvPr userDrawn="1"/>
        </p:nvSpPr>
        <p:spPr>
          <a:xfrm>
            <a:off x="11317940" y="6396404"/>
            <a:ext cx="226822" cy="224155"/>
          </a:xfrm>
          <a:prstGeom prst="ellipse">
            <a:avLst/>
          </a:prstGeom>
          <a:ln w="19050">
            <a:solidFill>
              <a:schemeClr val="accent5"/>
            </a:solidFill>
          </a:ln>
        </p:spPr>
        <p:txBody>
          <a:bodyPr lIns="0" tIns="0" rIns="0" bIns="0" anchor="ctr"/>
          <a:lstStyle>
            <a:defPPr>
              <a:defRPr lang="en-US"/>
            </a:defPPr>
            <a:lvl1pPr marL="0" algn="ctr" defTabSz="228600" rtl="0" eaLnBrk="1" latinLnBrk="0" hangingPunct="1">
              <a:defRPr sz="12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09F87CD-0A17-480A-BA0C-CEA734C9A086}" type="slidenum">
              <a:rPr lang="en-US" smtClean="0">
                <a:solidFill>
                  <a:schemeClr val="accent1"/>
                </a:solidFill>
              </a:rPr>
              <a:pPr/>
              <a:t>‹nr.›</a:t>
            </a:fld>
            <a:endParaRPr lang="en-US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305516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3840">
          <p15:clr>
            <a:srgbClr val="FBAE40"/>
          </p15:clr>
        </p15:guide>
        <p15:guide id="3" pos="7242">
          <p15:clr>
            <a:srgbClr val="FBAE40"/>
          </p15:clr>
        </p15:guide>
        <p15:guide id="4" pos="4294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3D7AB2E-5F72-5AE1-CB40-8AAE48C9888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19138" y="0"/>
            <a:ext cx="3487737" cy="685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61AFB359-1889-C3AE-1620-C72C139C1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0800" y="1461346"/>
            <a:ext cx="5654246" cy="162660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60000"/>
              </a:lnSpc>
              <a:defRPr sz="54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7DF2FC3-85C5-EE62-2997-459BD99042A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260800" y="3224477"/>
            <a:ext cx="5654246" cy="228197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buNone/>
              <a:defRPr sz="15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6E03E89-9F3B-E163-4AC2-16CB3B83F0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53529" y="421909"/>
            <a:ext cx="1209635" cy="289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299445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177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8343792-E0B7-0403-490F-1CA46DEC27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177A3"/>
              </a:gs>
              <a:gs pos="100000">
                <a:srgbClr val="1C609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6896ABFB-CF65-1CD8-B4BD-A934F23CF541}"/>
              </a:ext>
            </a:extLst>
          </p:cNvPr>
          <p:cNvSpPr/>
          <p:nvPr userDrawn="1"/>
        </p:nvSpPr>
        <p:spPr>
          <a:xfrm>
            <a:off x="1" y="0"/>
            <a:ext cx="12191999" cy="6858001"/>
          </a:xfrm>
          <a:custGeom>
            <a:avLst/>
            <a:gdLst>
              <a:gd name="connsiteX0" fmla="*/ 11262989 w 12191999"/>
              <a:gd name="connsiteY0" fmla="*/ 3649930 h 6858001"/>
              <a:gd name="connsiteX1" fmla="*/ 11289557 w 12191999"/>
              <a:gd name="connsiteY1" fmla="*/ 3742053 h 6858001"/>
              <a:gd name="connsiteX2" fmla="*/ 11058675 w 12191999"/>
              <a:gd name="connsiteY2" fmla="*/ 5456271 h 6858001"/>
              <a:gd name="connsiteX3" fmla="*/ 10801467 w 12191999"/>
              <a:gd name="connsiteY3" fmla="*/ 6740623 h 6858001"/>
              <a:gd name="connsiteX4" fmla="*/ 10783126 w 12191999"/>
              <a:gd name="connsiteY4" fmla="*/ 6858001 h 6858001"/>
              <a:gd name="connsiteX5" fmla="*/ 9920828 w 12191999"/>
              <a:gd name="connsiteY5" fmla="*/ 6858001 h 6858001"/>
              <a:gd name="connsiteX6" fmla="*/ 10023315 w 12191999"/>
              <a:gd name="connsiteY6" fmla="*/ 6372675 h 6858001"/>
              <a:gd name="connsiteX7" fmla="*/ 10137635 w 12191999"/>
              <a:gd name="connsiteY7" fmla="*/ 5854963 h 6858001"/>
              <a:gd name="connsiteX8" fmla="*/ 11170867 w 12191999"/>
              <a:gd name="connsiteY8" fmla="*/ 3716251 h 6858001"/>
              <a:gd name="connsiteX9" fmla="*/ 11262989 w 12191999"/>
              <a:gd name="connsiteY9" fmla="*/ 3649930 h 6858001"/>
              <a:gd name="connsiteX10" fmla="*/ 10013108 w 12191999"/>
              <a:gd name="connsiteY10" fmla="*/ 1 h 6858001"/>
              <a:gd name="connsiteX11" fmla="*/ 11513123 w 12191999"/>
              <a:gd name="connsiteY11" fmla="*/ 1 h 6858001"/>
              <a:gd name="connsiteX12" fmla="*/ 11375667 w 12191999"/>
              <a:gd name="connsiteY12" fmla="*/ 242204 h 6858001"/>
              <a:gd name="connsiteX13" fmla="*/ 8901800 w 12191999"/>
              <a:gd name="connsiteY13" fmla="*/ 3065651 h 6858001"/>
              <a:gd name="connsiteX14" fmla="*/ 8849051 w 12191999"/>
              <a:gd name="connsiteY14" fmla="*/ 3092218 h 6858001"/>
              <a:gd name="connsiteX15" fmla="*/ 8835862 w 12191999"/>
              <a:gd name="connsiteY15" fmla="*/ 3065844 h 6858001"/>
              <a:gd name="connsiteX16" fmla="*/ 8848858 w 12191999"/>
              <a:gd name="connsiteY16" fmla="*/ 3039466 h 6858001"/>
              <a:gd name="connsiteX17" fmla="*/ 9928744 w 12191999"/>
              <a:gd name="connsiteY17" fmla="*/ 136047 h 6858001"/>
              <a:gd name="connsiteX18" fmla="*/ 0 w 12191999"/>
              <a:gd name="connsiteY18" fmla="*/ 0 h 6858001"/>
              <a:gd name="connsiteX19" fmla="*/ 8524326 w 12191999"/>
              <a:gd name="connsiteY19" fmla="*/ 0 h 6858001"/>
              <a:gd name="connsiteX20" fmla="*/ 8358239 w 12191999"/>
              <a:gd name="connsiteY20" fmla="*/ 358554 h 6858001"/>
              <a:gd name="connsiteX21" fmla="*/ 8182024 w 12191999"/>
              <a:gd name="connsiteY21" fmla="*/ 801561 h 6858001"/>
              <a:gd name="connsiteX22" fmla="*/ 7106740 w 12191999"/>
              <a:gd name="connsiteY22" fmla="*/ 5918991 h 6858001"/>
              <a:gd name="connsiteX23" fmla="*/ 7167886 w 12191999"/>
              <a:gd name="connsiteY23" fmla="*/ 6821267 h 6858001"/>
              <a:gd name="connsiteX24" fmla="*/ 7174068 w 12191999"/>
              <a:gd name="connsiteY24" fmla="*/ 6858000 h 6858001"/>
              <a:gd name="connsiteX25" fmla="*/ 0 w 12191999"/>
              <a:gd name="connsiteY25" fmla="*/ 6858000 h 6858001"/>
              <a:gd name="connsiteX26" fmla="*/ 12191997 w 12191999"/>
              <a:gd name="connsiteY26" fmla="*/ 0 h 6858001"/>
              <a:gd name="connsiteX27" fmla="*/ 12191999 w 12191999"/>
              <a:gd name="connsiteY27" fmla="*/ 0 h 6858001"/>
              <a:gd name="connsiteX28" fmla="*/ 12191999 w 12191999"/>
              <a:gd name="connsiteY28" fmla="*/ 6391986 h 6858001"/>
              <a:gd name="connsiteX29" fmla="*/ 12147315 w 12191999"/>
              <a:gd name="connsiteY29" fmla="*/ 6604731 h 6858001"/>
              <a:gd name="connsiteX30" fmla="*/ 12101825 w 12191999"/>
              <a:gd name="connsiteY30" fmla="*/ 6858000 h 6858001"/>
              <a:gd name="connsiteX31" fmla="*/ 12101823 w 12191999"/>
              <a:gd name="connsiteY31" fmla="*/ 6858000 h 6858001"/>
              <a:gd name="connsiteX32" fmla="*/ 12147313 w 12191999"/>
              <a:gd name="connsiteY32" fmla="*/ 6604731 h 6858001"/>
              <a:gd name="connsiteX33" fmla="*/ 12191997 w 12191999"/>
              <a:gd name="connsiteY33" fmla="*/ 6391986 h 6858001"/>
              <a:gd name="connsiteX34" fmla="*/ 12191997 w 12191999"/>
              <a:gd name="connsiteY34" fmla="*/ 3161904 h 6858001"/>
              <a:gd name="connsiteX35" fmla="*/ 12181717 w 12191999"/>
              <a:gd name="connsiteY35" fmla="*/ 3148611 h 6858001"/>
              <a:gd name="connsiteX36" fmla="*/ 11629187 w 12191999"/>
              <a:gd name="connsiteY36" fmla="*/ 2897654 h 6858001"/>
              <a:gd name="connsiteX37" fmla="*/ 10079336 w 12191999"/>
              <a:gd name="connsiteY37" fmla="*/ 4339900 h 6858001"/>
              <a:gd name="connsiteX38" fmla="*/ 9428546 w 12191999"/>
              <a:gd name="connsiteY38" fmla="*/ 6569394 h 6858001"/>
              <a:gd name="connsiteX39" fmla="*/ 9392062 w 12191999"/>
              <a:gd name="connsiteY39" fmla="*/ 6756138 h 6858001"/>
              <a:gd name="connsiteX40" fmla="*/ 9370421 w 12191999"/>
              <a:gd name="connsiteY40" fmla="*/ 6858000 h 6858001"/>
              <a:gd name="connsiteX41" fmla="*/ 8503891 w 12191999"/>
              <a:gd name="connsiteY41" fmla="*/ 6858000 h 6858001"/>
              <a:gd name="connsiteX42" fmla="*/ 8493864 w 12191999"/>
              <a:gd name="connsiteY42" fmla="*/ 6814873 h 6858001"/>
              <a:gd name="connsiteX43" fmla="*/ 8424939 w 12191999"/>
              <a:gd name="connsiteY43" fmla="*/ 5966770 h 6858001"/>
              <a:gd name="connsiteX44" fmla="*/ 8628487 w 12191999"/>
              <a:gd name="connsiteY44" fmla="*/ 3975995 h 6858001"/>
              <a:gd name="connsiteX45" fmla="*/ 8733417 w 12191999"/>
              <a:gd name="connsiteY45" fmla="*/ 3817358 h 6858001"/>
              <a:gd name="connsiteX46" fmla="*/ 11845159 w 12191999"/>
              <a:gd name="connsiteY46" fmla="*/ 656307 h 6858001"/>
              <a:gd name="connsiteX47" fmla="*/ 12039981 w 12191999"/>
              <a:gd name="connsiteY47" fmla="*/ 379343 h 6858001"/>
              <a:gd name="connsiteX48" fmla="*/ 12191997 w 12191999"/>
              <a:gd name="connsiteY48" fmla="*/ 14724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2191999" h="6858001">
                <a:moveTo>
                  <a:pt x="11262989" y="3649930"/>
                </a:moveTo>
                <a:cubicBezTo>
                  <a:pt x="11289175" y="3649930"/>
                  <a:pt x="11289367" y="3689494"/>
                  <a:pt x="11289557" y="3742053"/>
                </a:cubicBezTo>
                <a:cubicBezTo>
                  <a:pt x="11252671" y="4427626"/>
                  <a:pt x="11187877" y="4770509"/>
                  <a:pt x="11058675" y="5456271"/>
                </a:cubicBezTo>
                <a:cubicBezTo>
                  <a:pt x="10974483" y="5865189"/>
                  <a:pt x="10877249" y="6297184"/>
                  <a:pt x="10801467" y="6740623"/>
                </a:cubicBezTo>
                <a:lnTo>
                  <a:pt x="10783126" y="6858001"/>
                </a:lnTo>
                <a:lnTo>
                  <a:pt x="9920828" y="6858001"/>
                </a:lnTo>
                <a:lnTo>
                  <a:pt x="10023315" y="6372675"/>
                </a:lnTo>
                <a:cubicBezTo>
                  <a:pt x="10058939" y="6199565"/>
                  <a:pt x="10095396" y="6026452"/>
                  <a:pt x="10137635" y="5854963"/>
                </a:cubicBezTo>
                <a:cubicBezTo>
                  <a:pt x="10332203" y="5010753"/>
                  <a:pt x="10645650" y="4297852"/>
                  <a:pt x="11170867" y="3716251"/>
                </a:cubicBezTo>
                <a:cubicBezTo>
                  <a:pt x="11210241" y="3676305"/>
                  <a:pt x="11236809" y="3649930"/>
                  <a:pt x="11262989" y="3649930"/>
                </a:cubicBezTo>
                <a:close/>
                <a:moveTo>
                  <a:pt x="10013108" y="1"/>
                </a:moveTo>
                <a:lnTo>
                  <a:pt x="11513123" y="1"/>
                </a:lnTo>
                <a:lnTo>
                  <a:pt x="11375667" y="242204"/>
                </a:lnTo>
                <a:cubicBezTo>
                  <a:pt x="10719010" y="1351000"/>
                  <a:pt x="9855550" y="2162743"/>
                  <a:pt x="8901800" y="3065651"/>
                </a:cubicBezTo>
                <a:cubicBezTo>
                  <a:pt x="8888421" y="3079029"/>
                  <a:pt x="8875426" y="3092218"/>
                  <a:pt x="8849051" y="3092218"/>
                </a:cubicBezTo>
                <a:lnTo>
                  <a:pt x="8835862" y="3065844"/>
                </a:lnTo>
                <a:lnTo>
                  <a:pt x="8848858" y="3039466"/>
                </a:lnTo>
                <a:cubicBezTo>
                  <a:pt x="9099043" y="2060013"/>
                  <a:pt x="9398823" y="1036745"/>
                  <a:pt x="9928744" y="136047"/>
                </a:cubicBezTo>
                <a:close/>
                <a:moveTo>
                  <a:pt x="0" y="0"/>
                </a:moveTo>
                <a:lnTo>
                  <a:pt x="8524326" y="0"/>
                </a:lnTo>
                <a:lnTo>
                  <a:pt x="8358239" y="358554"/>
                </a:lnTo>
                <a:cubicBezTo>
                  <a:pt x="8294613" y="506688"/>
                  <a:pt x="8235850" y="654752"/>
                  <a:pt x="8182024" y="801561"/>
                </a:cubicBezTo>
                <a:cubicBezTo>
                  <a:pt x="7620684" y="2306117"/>
                  <a:pt x="7100433" y="4179350"/>
                  <a:pt x="7106740" y="5918991"/>
                </a:cubicBezTo>
                <a:cubicBezTo>
                  <a:pt x="7107697" y="6190809"/>
                  <a:pt x="7121700" y="6506340"/>
                  <a:pt x="7167886" y="6821267"/>
                </a:cubicBezTo>
                <a:lnTo>
                  <a:pt x="7174068" y="6858000"/>
                </a:lnTo>
                <a:lnTo>
                  <a:pt x="0" y="6858000"/>
                </a:lnTo>
                <a:close/>
                <a:moveTo>
                  <a:pt x="12191997" y="0"/>
                </a:moveTo>
                <a:lnTo>
                  <a:pt x="12191999" y="0"/>
                </a:lnTo>
                <a:lnTo>
                  <a:pt x="12191999" y="6391986"/>
                </a:lnTo>
                <a:lnTo>
                  <a:pt x="12147315" y="6604731"/>
                </a:lnTo>
                <a:lnTo>
                  <a:pt x="12101825" y="6858000"/>
                </a:lnTo>
                <a:lnTo>
                  <a:pt x="12101823" y="6858000"/>
                </a:lnTo>
                <a:lnTo>
                  <a:pt x="12147313" y="6604731"/>
                </a:lnTo>
                <a:lnTo>
                  <a:pt x="12191997" y="6391986"/>
                </a:lnTo>
                <a:lnTo>
                  <a:pt x="12191997" y="3161904"/>
                </a:lnTo>
                <a:lnTo>
                  <a:pt x="12181717" y="3148611"/>
                </a:lnTo>
                <a:cubicBezTo>
                  <a:pt x="12044071" y="2990650"/>
                  <a:pt x="11861475" y="2896795"/>
                  <a:pt x="11629187" y="2897654"/>
                </a:cubicBezTo>
                <a:cubicBezTo>
                  <a:pt x="10891243" y="2926706"/>
                  <a:pt x="10366788" y="3653562"/>
                  <a:pt x="10079336" y="4339900"/>
                </a:cubicBezTo>
                <a:cubicBezTo>
                  <a:pt x="9752505" y="5052801"/>
                  <a:pt x="9544370" y="5804698"/>
                  <a:pt x="9428546" y="6569394"/>
                </a:cubicBezTo>
                <a:cubicBezTo>
                  <a:pt x="9417222" y="6628740"/>
                  <a:pt x="9405089" y="6691588"/>
                  <a:pt x="9392062" y="6756138"/>
                </a:cubicBezTo>
                <a:lnTo>
                  <a:pt x="9370421" y="6858000"/>
                </a:lnTo>
                <a:lnTo>
                  <a:pt x="8503891" y="6858000"/>
                </a:lnTo>
                <a:lnTo>
                  <a:pt x="8493864" y="6814873"/>
                </a:lnTo>
                <a:cubicBezTo>
                  <a:pt x="8446871" y="6572882"/>
                  <a:pt x="8432776" y="6315960"/>
                  <a:pt x="8424939" y="5966770"/>
                </a:cubicBezTo>
                <a:cubicBezTo>
                  <a:pt x="8422454" y="5307765"/>
                  <a:pt x="8499096" y="4635571"/>
                  <a:pt x="8628487" y="3975995"/>
                </a:cubicBezTo>
                <a:cubicBezTo>
                  <a:pt x="8641487" y="3910053"/>
                  <a:pt x="8667479" y="3857304"/>
                  <a:pt x="8733417" y="3817358"/>
                </a:cubicBezTo>
                <a:cubicBezTo>
                  <a:pt x="9797232" y="2877969"/>
                  <a:pt x="10861425" y="1951382"/>
                  <a:pt x="11845159" y="656307"/>
                </a:cubicBezTo>
                <a:cubicBezTo>
                  <a:pt x="11914013" y="560505"/>
                  <a:pt x="11978963" y="468629"/>
                  <a:pt x="12039981" y="379343"/>
                </a:cubicBezTo>
                <a:lnTo>
                  <a:pt x="12191997" y="1472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0183B35-E8E5-D8B1-512C-F1D1BCA30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7650" y="604491"/>
            <a:ext cx="1910750" cy="456671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60F4218-2EE0-546D-3F79-E0E719A6FCFB}"/>
              </a:ext>
            </a:extLst>
          </p:cNvPr>
          <p:cNvCxnSpPr>
            <a:cxnSpLocks/>
          </p:cNvCxnSpPr>
          <p:nvPr userDrawn="1"/>
        </p:nvCxnSpPr>
        <p:spPr>
          <a:xfrm>
            <a:off x="0" y="4220935"/>
            <a:ext cx="6249500" cy="0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ubtitle 2">
            <a:extLst>
              <a:ext uri="{FF2B5EF4-FFF2-40B4-BE49-F238E27FC236}">
                <a16:creationId xmlns:a16="http://schemas.microsoft.com/office/drawing/2014/main" id="{F4BAC6E8-70D6-03EB-2CF9-73EF399350E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16" y="4359254"/>
            <a:ext cx="8548255" cy="1300978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PK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BADFC970-AC73-A3EA-1D39-CD87A3E84E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939" y="1963717"/>
            <a:ext cx="8570188" cy="2305087"/>
          </a:xfrm>
          <a:prstGeom prst="rect">
            <a:avLst/>
          </a:prstGeom>
        </p:spPr>
        <p:txBody>
          <a:bodyPr lIns="0" tIns="46800" rIns="0" anchor="b">
            <a:noAutofit/>
          </a:bodyPr>
          <a:lstStyle>
            <a:lvl1pPr algn="l">
              <a:lnSpc>
                <a:spcPct val="60000"/>
              </a:lnSpc>
              <a:defRPr sz="7200">
                <a:solidFill>
                  <a:schemeClr val="bg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5FE48B-DAAC-027F-E8AC-F238A14B8639}"/>
              </a:ext>
            </a:extLst>
          </p:cNvPr>
          <p:cNvCxnSpPr>
            <a:cxnSpLocks/>
          </p:cNvCxnSpPr>
          <p:nvPr userDrawn="1"/>
        </p:nvCxnSpPr>
        <p:spPr>
          <a:xfrm>
            <a:off x="527650" y="4220935"/>
            <a:ext cx="1019210" cy="0"/>
          </a:xfrm>
          <a:prstGeom prst="line">
            <a:avLst/>
          </a:prstGeom>
          <a:ln w="381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4DCE45CC-D9B6-C91F-F8F3-AE5826DDB67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27650" y="756891"/>
            <a:ext cx="1910750" cy="45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936246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25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divi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6896ABFB-CF65-1CD8-B4BD-A934F23CF541}"/>
              </a:ext>
            </a:extLst>
          </p:cNvPr>
          <p:cNvSpPr/>
          <p:nvPr userDrawn="1"/>
        </p:nvSpPr>
        <p:spPr>
          <a:xfrm>
            <a:off x="1" y="0"/>
            <a:ext cx="12191999" cy="6858001"/>
          </a:xfrm>
          <a:custGeom>
            <a:avLst/>
            <a:gdLst>
              <a:gd name="connsiteX0" fmla="*/ 11262989 w 12191999"/>
              <a:gd name="connsiteY0" fmla="*/ 3649930 h 6858001"/>
              <a:gd name="connsiteX1" fmla="*/ 11289557 w 12191999"/>
              <a:gd name="connsiteY1" fmla="*/ 3742053 h 6858001"/>
              <a:gd name="connsiteX2" fmla="*/ 11058675 w 12191999"/>
              <a:gd name="connsiteY2" fmla="*/ 5456271 h 6858001"/>
              <a:gd name="connsiteX3" fmla="*/ 10801467 w 12191999"/>
              <a:gd name="connsiteY3" fmla="*/ 6740623 h 6858001"/>
              <a:gd name="connsiteX4" fmla="*/ 10783126 w 12191999"/>
              <a:gd name="connsiteY4" fmla="*/ 6858001 h 6858001"/>
              <a:gd name="connsiteX5" fmla="*/ 9920828 w 12191999"/>
              <a:gd name="connsiteY5" fmla="*/ 6858001 h 6858001"/>
              <a:gd name="connsiteX6" fmla="*/ 10023315 w 12191999"/>
              <a:gd name="connsiteY6" fmla="*/ 6372675 h 6858001"/>
              <a:gd name="connsiteX7" fmla="*/ 10137635 w 12191999"/>
              <a:gd name="connsiteY7" fmla="*/ 5854963 h 6858001"/>
              <a:gd name="connsiteX8" fmla="*/ 11170867 w 12191999"/>
              <a:gd name="connsiteY8" fmla="*/ 3716251 h 6858001"/>
              <a:gd name="connsiteX9" fmla="*/ 11262989 w 12191999"/>
              <a:gd name="connsiteY9" fmla="*/ 3649930 h 6858001"/>
              <a:gd name="connsiteX10" fmla="*/ 10013108 w 12191999"/>
              <a:gd name="connsiteY10" fmla="*/ 1 h 6858001"/>
              <a:gd name="connsiteX11" fmla="*/ 11513123 w 12191999"/>
              <a:gd name="connsiteY11" fmla="*/ 1 h 6858001"/>
              <a:gd name="connsiteX12" fmla="*/ 11375667 w 12191999"/>
              <a:gd name="connsiteY12" fmla="*/ 242204 h 6858001"/>
              <a:gd name="connsiteX13" fmla="*/ 8901800 w 12191999"/>
              <a:gd name="connsiteY13" fmla="*/ 3065651 h 6858001"/>
              <a:gd name="connsiteX14" fmla="*/ 8849051 w 12191999"/>
              <a:gd name="connsiteY14" fmla="*/ 3092218 h 6858001"/>
              <a:gd name="connsiteX15" fmla="*/ 8835862 w 12191999"/>
              <a:gd name="connsiteY15" fmla="*/ 3065844 h 6858001"/>
              <a:gd name="connsiteX16" fmla="*/ 8848858 w 12191999"/>
              <a:gd name="connsiteY16" fmla="*/ 3039466 h 6858001"/>
              <a:gd name="connsiteX17" fmla="*/ 9928744 w 12191999"/>
              <a:gd name="connsiteY17" fmla="*/ 136047 h 6858001"/>
              <a:gd name="connsiteX18" fmla="*/ 0 w 12191999"/>
              <a:gd name="connsiteY18" fmla="*/ 0 h 6858001"/>
              <a:gd name="connsiteX19" fmla="*/ 8524326 w 12191999"/>
              <a:gd name="connsiteY19" fmla="*/ 0 h 6858001"/>
              <a:gd name="connsiteX20" fmla="*/ 8358239 w 12191999"/>
              <a:gd name="connsiteY20" fmla="*/ 358554 h 6858001"/>
              <a:gd name="connsiteX21" fmla="*/ 8182024 w 12191999"/>
              <a:gd name="connsiteY21" fmla="*/ 801561 h 6858001"/>
              <a:gd name="connsiteX22" fmla="*/ 7106740 w 12191999"/>
              <a:gd name="connsiteY22" fmla="*/ 5918991 h 6858001"/>
              <a:gd name="connsiteX23" fmla="*/ 7167886 w 12191999"/>
              <a:gd name="connsiteY23" fmla="*/ 6821267 h 6858001"/>
              <a:gd name="connsiteX24" fmla="*/ 7174068 w 12191999"/>
              <a:gd name="connsiteY24" fmla="*/ 6858000 h 6858001"/>
              <a:gd name="connsiteX25" fmla="*/ 0 w 12191999"/>
              <a:gd name="connsiteY25" fmla="*/ 6858000 h 6858001"/>
              <a:gd name="connsiteX26" fmla="*/ 12191997 w 12191999"/>
              <a:gd name="connsiteY26" fmla="*/ 0 h 6858001"/>
              <a:gd name="connsiteX27" fmla="*/ 12191999 w 12191999"/>
              <a:gd name="connsiteY27" fmla="*/ 0 h 6858001"/>
              <a:gd name="connsiteX28" fmla="*/ 12191999 w 12191999"/>
              <a:gd name="connsiteY28" fmla="*/ 6391986 h 6858001"/>
              <a:gd name="connsiteX29" fmla="*/ 12147315 w 12191999"/>
              <a:gd name="connsiteY29" fmla="*/ 6604731 h 6858001"/>
              <a:gd name="connsiteX30" fmla="*/ 12101825 w 12191999"/>
              <a:gd name="connsiteY30" fmla="*/ 6858000 h 6858001"/>
              <a:gd name="connsiteX31" fmla="*/ 12101823 w 12191999"/>
              <a:gd name="connsiteY31" fmla="*/ 6858000 h 6858001"/>
              <a:gd name="connsiteX32" fmla="*/ 12147313 w 12191999"/>
              <a:gd name="connsiteY32" fmla="*/ 6604731 h 6858001"/>
              <a:gd name="connsiteX33" fmla="*/ 12191997 w 12191999"/>
              <a:gd name="connsiteY33" fmla="*/ 6391986 h 6858001"/>
              <a:gd name="connsiteX34" fmla="*/ 12191997 w 12191999"/>
              <a:gd name="connsiteY34" fmla="*/ 3161904 h 6858001"/>
              <a:gd name="connsiteX35" fmla="*/ 12181717 w 12191999"/>
              <a:gd name="connsiteY35" fmla="*/ 3148611 h 6858001"/>
              <a:gd name="connsiteX36" fmla="*/ 11629187 w 12191999"/>
              <a:gd name="connsiteY36" fmla="*/ 2897654 h 6858001"/>
              <a:gd name="connsiteX37" fmla="*/ 10079336 w 12191999"/>
              <a:gd name="connsiteY37" fmla="*/ 4339900 h 6858001"/>
              <a:gd name="connsiteX38" fmla="*/ 9428546 w 12191999"/>
              <a:gd name="connsiteY38" fmla="*/ 6569394 h 6858001"/>
              <a:gd name="connsiteX39" fmla="*/ 9392062 w 12191999"/>
              <a:gd name="connsiteY39" fmla="*/ 6756138 h 6858001"/>
              <a:gd name="connsiteX40" fmla="*/ 9370421 w 12191999"/>
              <a:gd name="connsiteY40" fmla="*/ 6858000 h 6858001"/>
              <a:gd name="connsiteX41" fmla="*/ 8503891 w 12191999"/>
              <a:gd name="connsiteY41" fmla="*/ 6858000 h 6858001"/>
              <a:gd name="connsiteX42" fmla="*/ 8493864 w 12191999"/>
              <a:gd name="connsiteY42" fmla="*/ 6814873 h 6858001"/>
              <a:gd name="connsiteX43" fmla="*/ 8424939 w 12191999"/>
              <a:gd name="connsiteY43" fmla="*/ 5966770 h 6858001"/>
              <a:gd name="connsiteX44" fmla="*/ 8628487 w 12191999"/>
              <a:gd name="connsiteY44" fmla="*/ 3975995 h 6858001"/>
              <a:gd name="connsiteX45" fmla="*/ 8733417 w 12191999"/>
              <a:gd name="connsiteY45" fmla="*/ 3817358 h 6858001"/>
              <a:gd name="connsiteX46" fmla="*/ 11845159 w 12191999"/>
              <a:gd name="connsiteY46" fmla="*/ 656307 h 6858001"/>
              <a:gd name="connsiteX47" fmla="*/ 12039981 w 12191999"/>
              <a:gd name="connsiteY47" fmla="*/ 379343 h 6858001"/>
              <a:gd name="connsiteX48" fmla="*/ 12191997 w 12191999"/>
              <a:gd name="connsiteY48" fmla="*/ 14724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2191999" h="6858001">
                <a:moveTo>
                  <a:pt x="11262989" y="3649930"/>
                </a:moveTo>
                <a:cubicBezTo>
                  <a:pt x="11289175" y="3649930"/>
                  <a:pt x="11289367" y="3689494"/>
                  <a:pt x="11289557" y="3742053"/>
                </a:cubicBezTo>
                <a:cubicBezTo>
                  <a:pt x="11252671" y="4427626"/>
                  <a:pt x="11187877" y="4770509"/>
                  <a:pt x="11058675" y="5456271"/>
                </a:cubicBezTo>
                <a:cubicBezTo>
                  <a:pt x="10974483" y="5865189"/>
                  <a:pt x="10877249" y="6297184"/>
                  <a:pt x="10801467" y="6740623"/>
                </a:cubicBezTo>
                <a:lnTo>
                  <a:pt x="10783126" y="6858001"/>
                </a:lnTo>
                <a:lnTo>
                  <a:pt x="9920828" y="6858001"/>
                </a:lnTo>
                <a:lnTo>
                  <a:pt x="10023315" y="6372675"/>
                </a:lnTo>
                <a:cubicBezTo>
                  <a:pt x="10058939" y="6199565"/>
                  <a:pt x="10095396" y="6026452"/>
                  <a:pt x="10137635" y="5854963"/>
                </a:cubicBezTo>
                <a:cubicBezTo>
                  <a:pt x="10332203" y="5010753"/>
                  <a:pt x="10645650" y="4297852"/>
                  <a:pt x="11170867" y="3716251"/>
                </a:cubicBezTo>
                <a:cubicBezTo>
                  <a:pt x="11210241" y="3676305"/>
                  <a:pt x="11236809" y="3649930"/>
                  <a:pt x="11262989" y="3649930"/>
                </a:cubicBezTo>
                <a:close/>
                <a:moveTo>
                  <a:pt x="10013108" y="1"/>
                </a:moveTo>
                <a:lnTo>
                  <a:pt x="11513123" y="1"/>
                </a:lnTo>
                <a:lnTo>
                  <a:pt x="11375667" y="242204"/>
                </a:lnTo>
                <a:cubicBezTo>
                  <a:pt x="10719010" y="1351000"/>
                  <a:pt x="9855550" y="2162743"/>
                  <a:pt x="8901800" y="3065651"/>
                </a:cubicBezTo>
                <a:cubicBezTo>
                  <a:pt x="8888421" y="3079029"/>
                  <a:pt x="8875426" y="3092218"/>
                  <a:pt x="8849051" y="3092218"/>
                </a:cubicBezTo>
                <a:lnTo>
                  <a:pt x="8835862" y="3065844"/>
                </a:lnTo>
                <a:lnTo>
                  <a:pt x="8848858" y="3039466"/>
                </a:lnTo>
                <a:cubicBezTo>
                  <a:pt x="9099043" y="2060013"/>
                  <a:pt x="9398823" y="1036745"/>
                  <a:pt x="9928744" y="136047"/>
                </a:cubicBezTo>
                <a:close/>
                <a:moveTo>
                  <a:pt x="0" y="0"/>
                </a:moveTo>
                <a:lnTo>
                  <a:pt x="8524326" y="0"/>
                </a:lnTo>
                <a:lnTo>
                  <a:pt x="8358239" y="358554"/>
                </a:lnTo>
                <a:cubicBezTo>
                  <a:pt x="8294613" y="506688"/>
                  <a:pt x="8235850" y="654752"/>
                  <a:pt x="8182024" y="801561"/>
                </a:cubicBezTo>
                <a:cubicBezTo>
                  <a:pt x="7620684" y="2306117"/>
                  <a:pt x="7100433" y="4179350"/>
                  <a:pt x="7106740" y="5918991"/>
                </a:cubicBezTo>
                <a:cubicBezTo>
                  <a:pt x="7107697" y="6190809"/>
                  <a:pt x="7121700" y="6506340"/>
                  <a:pt x="7167886" y="6821267"/>
                </a:cubicBezTo>
                <a:lnTo>
                  <a:pt x="7174068" y="6858000"/>
                </a:lnTo>
                <a:lnTo>
                  <a:pt x="0" y="6858000"/>
                </a:lnTo>
                <a:close/>
                <a:moveTo>
                  <a:pt x="12191997" y="0"/>
                </a:moveTo>
                <a:lnTo>
                  <a:pt x="12191999" y="0"/>
                </a:lnTo>
                <a:lnTo>
                  <a:pt x="12191999" y="6391986"/>
                </a:lnTo>
                <a:lnTo>
                  <a:pt x="12147315" y="6604731"/>
                </a:lnTo>
                <a:lnTo>
                  <a:pt x="12101825" y="6858000"/>
                </a:lnTo>
                <a:lnTo>
                  <a:pt x="12101823" y="6858000"/>
                </a:lnTo>
                <a:lnTo>
                  <a:pt x="12147313" y="6604731"/>
                </a:lnTo>
                <a:lnTo>
                  <a:pt x="12191997" y="6391986"/>
                </a:lnTo>
                <a:lnTo>
                  <a:pt x="12191997" y="3161904"/>
                </a:lnTo>
                <a:lnTo>
                  <a:pt x="12181717" y="3148611"/>
                </a:lnTo>
                <a:cubicBezTo>
                  <a:pt x="12044071" y="2990650"/>
                  <a:pt x="11861475" y="2896795"/>
                  <a:pt x="11629187" y="2897654"/>
                </a:cubicBezTo>
                <a:cubicBezTo>
                  <a:pt x="10891243" y="2926706"/>
                  <a:pt x="10366788" y="3653562"/>
                  <a:pt x="10079336" y="4339900"/>
                </a:cubicBezTo>
                <a:cubicBezTo>
                  <a:pt x="9752505" y="5052801"/>
                  <a:pt x="9544370" y="5804698"/>
                  <a:pt x="9428546" y="6569394"/>
                </a:cubicBezTo>
                <a:cubicBezTo>
                  <a:pt x="9417222" y="6628740"/>
                  <a:pt x="9405089" y="6691588"/>
                  <a:pt x="9392062" y="6756138"/>
                </a:cubicBezTo>
                <a:lnTo>
                  <a:pt x="9370421" y="6858000"/>
                </a:lnTo>
                <a:lnTo>
                  <a:pt x="8503891" y="6858000"/>
                </a:lnTo>
                <a:lnTo>
                  <a:pt x="8493864" y="6814873"/>
                </a:lnTo>
                <a:cubicBezTo>
                  <a:pt x="8446871" y="6572882"/>
                  <a:pt x="8432776" y="6315960"/>
                  <a:pt x="8424939" y="5966770"/>
                </a:cubicBezTo>
                <a:cubicBezTo>
                  <a:pt x="8422454" y="5307765"/>
                  <a:pt x="8499096" y="4635571"/>
                  <a:pt x="8628487" y="3975995"/>
                </a:cubicBezTo>
                <a:cubicBezTo>
                  <a:pt x="8641487" y="3910053"/>
                  <a:pt x="8667479" y="3857304"/>
                  <a:pt x="8733417" y="3817358"/>
                </a:cubicBezTo>
                <a:cubicBezTo>
                  <a:pt x="9797232" y="2877969"/>
                  <a:pt x="10861425" y="1951382"/>
                  <a:pt x="11845159" y="656307"/>
                </a:cubicBezTo>
                <a:cubicBezTo>
                  <a:pt x="11914013" y="560505"/>
                  <a:pt x="11978963" y="468629"/>
                  <a:pt x="12039981" y="379343"/>
                </a:cubicBezTo>
                <a:lnTo>
                  <a:pt x="12191997" y="1472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6E9DEA9B-625B-FF05-FB58-26962F8477B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106684" y="0"/>
            <a:ext cx="5085316" cy="6858000"/>
          </a:xfrm>
          <a:custGeom>
            <a:avLst/>
            <a:gdLst>
              <a:gd name="connsiteX0" fmla="*/ 5085316 w 5085316"/>
              <a:gd name="connsiteY0" fmla="*/ 6391986 h 6858000"/>
              <a:gd name="connsiteX1" fmla="*/ 5085316 w 5085316"/>
              <a:gd name="connsiteY1" fmla="*/ 6858000 h 6858000"/>
              <a:gd name="connsiteX2" fmla="*/ 4995142 w 5085316"/>
              <a:gd name="connsiteY2" fmla="*/ 6858000 h 6858000"/>
              <a:gd name="connsiteX3" fmla="*/ 5040632 w 5085316"/>
              <a:gd name="connsiteY3" fmla="*/ 6604731 h 6858000"/>
              <a:gd name="connsiteX4" fmla="*/ 4522504 w 5085316"/>
              <a:gd name="connsiteY4" fmla="*/ 2897654 h 6858000"/>
              <a:gd name="connsiteX5" fmla="*/ 5075034 w 5085316"/>
              <a:gd name="connsiteY5" fmla="*/ 3148611 h 6858000"/>
              <a:gd name="connsiteX6" fmla="*/ 5085314 w 5085316"/>
              <a:gd name="connsiteY6" fmla="*/ 3161904 h 6858000"/>
              <a:gd name="connsiteX7" fmla="*/ 5085314 w 5085316"/>
              <a:gd name="connsiteY7" fmla="*/ 6391986 h 6858000"/>
              <a:gd name="connsiteX8" fmla="*/ 5040630 w 5085316"/>
              <a:gd name="connsiteY8" fmla="*/ 6604731 h 6858000"/>
              <a:gd name="connsiteX9" fmla="*/ 4995140 w 5085316"/>
              <a:gd name="connsiteY9" fmla="*/ 6858000 h 6858000"/>
              <a:gd name="connsiteX10" fmla="*/ 3676443 w 5085316"/>
              <a:gd name="connsiteY10" fmla="*/ 6858000 h 6858000"/>
              <a:gd name="connsiteX11" fmla="*/ 3694784 w 5085316"/>
              <a:gd name="connsiteY11" fmla="*/ 6740622 h 6858000"/>
              <a:gd name="connsiteX12" fmla="*/ 3951992 w 5085316"/>
              <a:gd name="connsiteY12" fmla="*/ 5456270 h 6858000"/>
              <a:gd name="connsiteX13" fmla="*/ 4182874 w 5085316"/>
              <a:gd name="connsiteY13" fmla="*/ 3742052 h 6858000"/>
              <a:gd name="connsiteX14" fmla="*/ 4156306 w 5085316"/>
              <a:gd name="connsiteY14" fmla="*/ 3649929 h 6858000"/>
              <a:gd name="connsiteX15" fmla="*/ 4064184 w 5085316"/>
              <a:gd name="connsiteY15" fmla="*/ 3716250 h 6858000"/>
              <a:gd name="connsiteX16" fmla="*/ 3030952 w 5085316"/>
              <a:gd name="connsiteY16" fmla="*/ 5854962 h 6858000"/>
              <a:gd name="connsiteX17" fmla="*/ 2916632 w 5085316"/>
              <a:gd name="connsiteY17" fmla="*/ 6372674 h 6858000"/>
              <a:gd name="connsiteX18" fmla="*/ 2814145 w 5085316"/>
              <a:gd name="connsiteY18" fmla="*/ 6858000 h 6858000"/>
              <a:gd name="connsiteX19" fmla="*/ 2263738 w 5085316"/>
              <a:gd name="connsiteY19" fmla="*/ 6858000 h 6858000"/>
              <a:gd name="connsiteX20" fmla="*/ 2285379 w 5085316"/>
              <a:gd name="connsiteY20" fmla="*/ 6756138 h 6858000"/>
              <a:gd name="connsiteX21" fmla="*/ 2321863 w 5085316"/>
              <a:gd name="connsiteY21" fmla="*/ 6569394 h 6858000"/>
              <a:gd name="connsiteX22" fmla="*/ 2972653 w 5085316"/>
              <a:gd name="connsiteY22" fmla="*/ 4339900 h 6858000"/>
              <a:gd name="connsiteX23" fmla="*/ 4522504 w 5085316"/>
              <a:gd name="connsiteY23" fmla="*/ 2897654 h 6858000"/>
              <a:gd name="connsiteX24" fmla="*/ 1417643 w 5085316"/>
              <a:gd name="connsiteY24" fmla="*/ 0 h 6858000"/>
              <a:gd name="connsiteX25" fmla="*/ 2906425 w 5085316"/>
              <a:gd name="connsiteY25" fmla="*/ 0 h 6858000"/>
              <a:gd name="connsiteX26" fmla="*/ 2822061 w 5085316"/>
              <a:gd name="connsiteY26" fmla="*/ 136046 h 6858000"/>
              <a:gd name="connsiteX27" fmla="*/ 1742175 w 5085316"/>
              <a:gd name="connsiteY27" fmla="*/ 3039465 h 6858000"/>
              <a:gd name="connsiteX28" fmla="*/ 1729179 w 5085316"/>
              <a:gd name="connsiteY28" fmla="*/ 3065843 h 6858000"/>
              <a:gd name="connsiteX29" fmla="*/ 1742368 w 5085316"/>
              <a:gd name="connsiteY29" fmla="*/ 3092217 h 6858000"/>
              <a:gd name="connsiteX30" fmla="*/ 1795117 w 5085316"/>
              <a:gd name="connsiteY30" fmla="*/ 3065650 h 6858000"/>
              <a:gd name="connsiteX31" fmla="*/ 4268984 w 5085316"/>
              <a:gd name="connsiteY31" fmla="*/ 242203 h 6858000"/>
              <a:gd name="connsiteX32" fmla="*/ 4406440 w 5085316"/>
              <a:gd name="connsiteY32" fmla="*/ 0 h 6858000"/>
              <a:gd name="connsiteX33" fmla="*/ 5085314 w 5085316"/>
              <a:gd name="connsiteY33" fmla="*/ 0 h 6858000"/>
              <a:gd name="connsiteX34" fmla="*/ 5085314 w 5085316"/>
              <a:gd name="connsiteY34" fmla="*/ 147240 h 6858000"/>
              <a:gd name="connsiteX35" fmla="*/ 4933298 w 5085316"/>
              <a:gd name="connsiteY35" fmla="*/ 379343 h 6858000"/>
              <a:gd name="connsiteX36" fmla="*/ 4738476 w 5085316"/>
              <a:gd name="connsiteY36" fmla="*/ 656307 h 6858000"/>
              <a:gd name="connsiteX37" fmla="*/ 1626734 w 5085316"/>
              <a:gd name="connsiteY37" fmla="*/ 3817358 h 6858000"/>
              <a:gd name="connsiteX38" fmla="*/ 1521804 w 5085316"/>
              <a:gd name="connsiteY38" fmla="*/ 3975995 h 6858000"/>
              <a:gd name="connsiteX39" fmla="*/ 1318256 w 5085316"/>
              <a:gd name="connsiteY39" fmla="*/ 5966770 h 6858000"/>
              <a:gd name="connsiteX40" fmla="*/ 1387181 w 5085316"/>
              <a:gd name="connsiteY40" fmla="*/ 6814873 h 6858000"/>
              <a:gd name="connsiteX41" fmla="*/ 1397208 w 5085316"/>
              <a:gd name="connsiteY41" fmla="*/ 6858000 h 6858000"/>
              <a:gd name="connsiteX42" fmla="*/ 67385 w 5085316"/>
              <a:gd name="connsiteY42" fmla="*/ 6858000 h 6858000"/>
              <a:gd name="connsiteX43" fmla="*/ 61203 w 5085316"/>
              <a:gd name="connsiteY43" fmla="*/ 6821267 h 6858000"/>
              <a:gd name="connsiteX44" fmla="*/ 57 w 5085316"/>
              <a:gd name="connsiteY44" fmla="*/ 5918991 h 6858000"/>
              <a:gd name="connsiteX45" fmla="*/ 1075341 w 5085316"/>
              <a:gd name="connsiteY45" fmla="*/ 801561 h 6858000"/>
              <a:gd name="connsiteX46" fmla="*/ 1251556 w 5085316"/>
              <a:gd name="connsiteY46" fmla="*/ 35855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5085316" h="6858000">
                <a:moveTo>
                  <a:pt x="5085316" y="6391986"/>
                </a:moveTo>
                <a:lnTo>
                  <a:pt x="5085316" y="6858000"/>
                </a:lnTo>
                <a:lnTo>
                  <a:pt x="4995142" y="6858000"/>
                </a:lnTo>
                <a:lnTo>
                  <a:pt x="5040632" y="6604731"/>
                </a:lnTo>
                <a:close/>
                <a:moveTo>
                  <a:pt x="4522504" y="2897654"/>
                </a:moveTo>
                <a:cubicBezTo>
                  <a:pt x="4754792" y="2896795"/>
                  <a:pt x="4937388" y="2990650"/>
                  <a:pt x="5075034" y="3148611"/>
                </a:cubicBezTo>
                <a:lnTo>
                  <a:pt x="5085314" y="3161904"/>
                </a:lnTo>
                <a:lnTo>
                  <a:pt x="5085314" y="6391986"/>
                </a:lnTo>
                <a:lnTo>
                  <a:pt x="5040630" y="6604731"/>
                </a:lnTo>
                <a:lnTo>
                  <a:pt x="4995140" y="6858000"/>
                </a:lnTo>
                <a:lnTo>
                  <a:pt x="3676443" y="6858000"/>
                </a:lnTo>
                <a:lnTo>
                  <a:pt x="3694784" y="6740622"/>
                </a:lnTo>
                <a:cubicBezTo>
                  <a:pt x="3770566" y="6297183"/>
                  <a:pt x="3867800" y="5865188"/>
                  <a:pt x="3951992" y="5456270"/>
                </a:cubicBezTo>
                <a:cubicBezTo>
                  <a:pt x="4081194" y="4770508"/>
                  <a:pt x="4145988" y="4427625"/>
                  <a:pt x="4182874" y="3742052"/>
                </a:cubicBezTo>
                <a:cubicBezTo>
                  <a:pt x="4182684" y="3689493"/>
                  <a:pt x="4182492" y="3649929"/>
                  <a:pt x="4156306" y="3649929"/>
                </a:cubicBezTo>
                <a:cubicBezTo>
                  <a:pt x="4130126" y="3649929"/>
                  <a:pt x="4103558" y="3676304"/>
                  <a:pt x="4064184" y="3716250"/>
                </a:cubicBezTo>
                <a:cubicBezTo>
                  <a:pt x="3538967" y="4297851"/>
                  <a:pt x="3225520" y="5010752"/>
                  <a:pt x="3030952" y="5854962"/>
                </a:cubicBezTo>
                <a:cubicBezTo>
                  <a:pt x="2988713" y="6026451"/>
                  <a:pt x="2952256" y="6199564"/>
                  <a:pt x="2916632" y="6372674"/>
                </a:cubicBezTo>
                <a:lnTo>
                  <a:pt x="2814145" y="6858000"/>
                </a:lnTo>
                <a:lnTo>
                  <a:pt x="2263738" y="6858000"/>
                </a:lnTo>
                <a:lnTo>
                  <a:pt x="2285379" y="6756138"/>
                </a:lnTo>
                <a:cubicBezTo>
                  <a:pt x="2298406" y="6691588"/>
                  <a:pt x="2310539" y="6628740"/>
                  <a:pt x="2321863" y="6569394"/>
                </a:cubicBezTo>
                <a:cubicBezTo>
                  <a:pt x="2437687" y="5804698"/>
                  <a:pt x="2645822" y="5052801"/>
                  <a:pt x="2972653" y="4339900"/>
                </a:cubicBezTo>
                <a:cubicBezTo>
                  <a:pt x="3260105" y="3653562"/>
                  <a:pt x="3784560" y="2926706"/>
                  <a:pt x="4522504" y="2897654"/>
                </a:cubicBezTo>
                <a:close/>
                <a:moveTo>
                  <a:pt x="1417643" y="0"/>
                </a:moveTo>
                <a:lnTo>
                  <a:pt x="2906425" y="0"/>
                </a:lnTo>
                <a:lnTo>
                  <a:pt x="2822061" y="136046"/>
                </a:lnTo>
                <a:cubicBezTo>
                  <a:pt x="2292140" y="1036744"/>
                  <a:pt x="1992360" y="2060012"/>
                  <a:pt x="1742175" y="3039465"/>
                </a:cubicBezTo>
                <a:lnTo>
                  <a:pt x="1729179" y="3065843"/>
                </a:lnTo>
                <a:lnTo>
                  <a:pt x="1742368" y="3092217"/>
                </a:lnTo>
                <a:cubicBezTo>
                  <a:pt x="1768743" y="3092217"/>
                  <a:pt x="1781738" y="3079028"/>
                  <a:pt x="1795117" y="3065650"/>
                </a:cubicBezTo>
                <a:cubicBezTo>
                  <a:pt x="2748867" y="2162742"/>
                  <a:pt x="3612327" y="1350999"/>
                  <a:pt x="4268984" y="242203"/>
                </a:cubicBezTo>
                <a:lnTo>
                  <a:pt x="4406440" y="0"/>
                </a:lnTo>
                <a:lnTo>
                  <a:pt x="5085314" y="0"/>
                </a:lnTo>
                <a:lnTo>
                  <a:pt x="5085314" y="147240"/>
                </a:lnTo>
                <a:lnTo>
                  <a:pt x="4933298" y="379343"/>
                </a:lnTo>
                <a:cubicBezTo>
                  <a:pt x="4872280" y="468629"/>
                  <a:pt x="4807330" y="560505"/>
                  <a:pt x="4738476" y="656307"/>
                </a:cubicBezTo>
                <a:cubicBezTo>
                  <a:pt x="3754742" y="1951382"/>
                  <a:pt x="2690549" y="2877969"/>
                  <a:pt x="1626734" y="3817358"/>
                </a:cubicBezTo>
                <a:cubicBezTo>
                  <a:pt x="1560796" y="3857304"/>
                  <a:pt x="1534804" y="3910053"/>
                  <a:pt x="1521804" y="3975995"/>
                </a:cubicBezTo>
                <a:cubicBezTo>
                  <a:pt x="1392413" y="4635571"/>
                  <a:pt x="1315771" y="5307765"/>
                  <a:pt x="1318256" y="5966770"/>
                </a:cubicBezTo>
                <a:cubicBezTo>
                  <a:pt x="1326093" y="6315960"/>
                  <a:pt x="1340188" y="6572882"/>
                  <a:pt x="1387181" y="6814873"/>
                </a:cubicBezTo>
                <a:lnTo>
                  <a:pt x="1397208" y="6858000"/>
                </a:lnTo>
                <a:lnTo>
                  <a:pt x="67385" y="6858000"/>
                </a:lnTo>
                <a:lnTo>
                  <a:pt x="61203" y="6821267"/>
                </a:lnTo>
                <a:cubicBezTo>
                  <a:pt x="15017" y="6506340"/>
                  <a:pt x="1014" y="6190809"/>
                  <a:pt x="57" y="5918991"/>
                </a:cubicBezTo>
                <a:cubicBezTo>
                  <a:pt x="-6250" y="4179350"/>
                  <a:pt x="514001" y="2306117"/>
                  <a:pt x="1075341" y="801561"/>
                </a:cubicBezTo>
                <a:cubicBezTo>
                  <a:pt x="1129167" y="654752"/>
                  <a:pt x="1187930" y="506688"/>
                  <a:pt x="1251556" y="358554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0183B35-E8E5-D8B1-512C-F1D1BCA30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7650" y="604491"/>
            <a:ext cx="1910750" cy="456671"/>
          </a:xfrm>
          <a:prstGeom prst="rect">
            <a:avLst/>
          </a:prstGeom>
        </p:spPr>
      </p:pic>
      <p:sp>
        <p:nvSpPr>
          <p:cNvPr id="13" name="Subtitle 2">
            <a:extLst>
              <a:ext uri="{FF2B5EF4-FFF2-40B4-BE49-F238E27FC236}">
                <a16:creationId xmlns:a16="http://schemas.microsoft.com/office/drawing/2014/main" id="{F4BAC6E8-70D6-03EB-2CF9-73EF399350E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17" y="4359254"/>
            <a:ext cx="8548255" cy="1300978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PK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BADFC970-AC73-A3EA-1D39-CD87A3E84E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939" y="1963717"/>
            <a:ext cx="8570188" cy="2305087"/>
          </a:xfrm>
          <a:prstGeom prst="rect">
            <a:avLst/>
          </a:prstGeom>
        </p:spPr>
        <p:txBody>
          <a:bodyPr lIns="0" tIns="46800" rIns="0" anchor="b">
            <a:noAutofit/>
          </a:bodyPr>
          <a:lstStyle>
            <a:lvl1pPr algn="l">
              <a:lnSpc>
                <a:spcPct val="60000"/>
              </a:lnSpc>
              <a:defRPr sz="7200">
                <a:solidFill>
                  <a:schemeClr val="bg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895199782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BF429B15-5519-2C6F-8527-46195F599056}"/>
              </a:ext>
            </a:extLst>
          </p:cNvPr>
          <p:cNvSpPr/>
          <p:nvPr userDrawn="1"/>
        </p:nvSpPr>
        <p:spPr>
          <a:xfrm>
            <a:off x="0" y="0"/>
            <a:ext cx="6092561" cy="6858000"/>
          </a:xfrm>
          <a:prstGeom prst="rect">
            <a:avLst/>
          </a:prstGeom>
          <a:gradFill>
            <a:gsLst>
              <a:gs pos="0">
                <a:srgbClr val="1C4C94">
                  <a:alpha val="70000"/>
                </a:srgbClr>
              </a:gs>
              <a:gs pos="99000">
                <a:srgbClr val="0379A8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692138C-F37F-2F37-65DB-69914887707D}"/>
              </a:ext>
            </a:extLst>
          </p:cNvPr>
          <p:cNvSpPr/>
          <p:nvPr userDrawn="1"/>
        </p:nvSpPr>
        <p:spPr>
          <a:xfrm>
            <a:off x="0" y="0"/>
            <a:ext cx="6099442" cy="6858000"/>
          </a:xfrm>
          <a:prstGeom prst="rect">
            <a:avLst/>
          </a:prstGeom>
          <a:gradFill>
            <a:gsLst>
              <a:gs pos="1000">
                <a:srgbClr val="1D6095"/>
              </a:gs>
              <a:gs pos="99000">
                <a:srgbClr val="0178A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8E6C4B41-FEE4-42EF-A4CC-5B1AE1E762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577045" y="1165758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l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A6FACAB6-E88A-4795-0E3C-514F7C66F79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77045" y="2837142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42" name="Text Placeholder 17">
            <a:extLst>
              <a:ext uri="{FF2B5EF4-FFF2-40B4-BE49-F238E27FC236}">
                <a16:creationId xmlns:a16="http://schemas.microsoft.com/office/drawing/2014/main" id="{0B0C0BEB-8A1B-E15D-157E-0CCEE4D2003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77045" y="4508526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570727D9-B007-1628-E384-0F12A1A124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53529" y="421909"/>
            <a:ext cx="1209635" cy="28910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8EA7766-11D0-FB4F-3D4D-55C0A5320C37}"/>
              </a:ext>
            </a:extLst>
          </p:cNvPr>
          <p:cNvCxnSpPr>
            <a:cxnSpLocks/>
          </p:cNvCxnSpPr>
          <p:nvPr userDrawn="1"/>
        </p:nvCxnSpPr>
        <p:spPr>
          <a:xfrm>
            <a:off x="7091397" y="934654"/>
            <a:ext cx="0" cy="5163773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80EBD3A1-38D1-9A23-195C-0A5F57D17AE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77045" y="2001450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E4E24B4A-0856-85DE-C580-CD81393B163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77045" y="3672834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C57F6E4D-88BC-6C59-16E3-1336C1BDBFD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577045" y="5344219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8F2D4774-7A19-26FE-BAFE-61D47E15EE48}"/>
              </a:ext>
            </a:extLst>
          </p:cNvPr>
          <p:cNvSpPr>
            <a:spLocks noGrp="1" noChangeAspect="1"/>
          </p:cNvSpPr>
          <p:nvPr>
            <p:ph type="body" sz="quarter" idx="45" hasCustomPrompt="1"/>
          </p:nvPr>
        </p:nvSpPr>
        <p:spPr>
          <a:xfrm>
            <a:off x="6821780" y="1165758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66F826E9-C23B-16A3-0473-812F0CA37F89}"/>
              </a:ext>
            </a:extLst>
          </p:cNvPr>
          <p:cNvSpPr>
            <a:spLocks noGrp="1" noChangeAspect="1"/>
          </p:cNvSpPr>
          <p:nvPr>
            <p:ph type="body" sz="quarter" idx="46" hasCustomPrompt="1"/>
          </p:nvPr>
        </p:nvSpPr>
        <p:spPr>
          <a:xfrm>
            <a:off x="6821780" y="2001450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3D62A798-8AD2-3E28-1217-DBCFF358AAAC}"/>
              </a:ext>
            </a:extLst>
          </p:cNvPr>
          <p:cNvSpPr>
            <a:spLocks noGrp="1" noChangeAspect="1"/>
          </p:cNvSpPr>
          <p:nvPr>
            <p:ph type="body" sz="quarter" idx="47" hasCustomPrompt="1"/>
          </p:nvPr>
        </p:nvSpPr>
        <p:spPr>
          <a:xfrm>
            <a:off x="6821780" y="2837142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0C8DB805-D6AA-DC93-16E5-14A7CE0A20E4}"/>
              </a:ext>
            </a:extLst>
          </p:cNvPr>
          <p:cNvSpPr>
            <a:spLocks noGrp="1" noChangeAspect="1"/>
          </p:cNvSpPr>
          <p:nvPr>
            <p:ph type="body" sz="quarter" idx="48" hasCustomPrompt="1"/>
          </p:nvPr>
        </p:nvSpPr>
        <p:spPr>
          <a:xfrm>
            <a:off x="6821780" y="3672834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733E2632-6408-C1B1-0197-81EC8778BC93}"/>
              </a:ext>
            </a:extLst>
          </p:cNvPr>
          <p:cNvSpPr>
            <a:spLocks noGrp="1" noChangeAspect="1"/>
          </p:cNvSpPr>
          <p:nvPr>
            <p:ph type="body" sz="quarter" idx="49" hasCustomPrompt="1"/>
          </p:nvPr>
        </p:nvSpPr>
        <p:spPr>
          <a:xfrm>
            <a:off x="6821780" y="4508526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F2A22727-D956-DE93-AEE0-A5BD5D55394D}"/>
              </a:ext>
            </a:extLst>
          </p:cNvPr>
          <p:cNvSpPr>
            <a:spLocks noGrp="1" noChangeAspect="1"/>
          </p:cNvSpPr>
          <p:nvPr>
            <p:ph type="body" sz="quarter" idx="50" hasCustomPrompt="1"/>
          </p:nvPr>
        </p:nvSpPr>
        <p:spPr>
          <a:xfrm>
            <a:off x="6821780" y="5344219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A589B61-EDFA-D2C7-543D-BDBBB984E9D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0"/>
            <a:ext cx="6099442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C7946B9-62ED-E1C9-D784-738B6CE36A06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0">
                <a:srgbClr val="1C4C94">
                  <a:alpha val="92000"/>
                </a:srgbClr>
              </a:gs>
              <a:gs pos="99000">
                <a:srgbClr val="0379A8">
                  <a:alpha val="75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8AF2802-7DC0-FA3E-81B5-F3CDD924310F}"/>
              </a:ext>
            </a:extLst>
          </p:cNvPr>
          <p:cNvCxnSpPr>
            <a:cxnSpLocks/>
          </p:cNvCxnSpPr>
          <p:nvPr userDrawn="1"/>
        </p:nvCxnSpPr>
        <p:spPr>
          <a:xfrm>
            <a:off x="696693" y="0"/>
            <a:ext cx="0" cy="4849871"/>
          </a:xfrm>
          <a:prstGeom prst="line">
            <a:avLst/>
          </a:prstGeom>
          <a:noFill/>
          <a:ln w="38100" cap="rnd">
            <a:solidFill>
              <a:srgbClr val="F96E46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7" name="Title 1">
            <a:extLst>
              <a:ext uri="{FF2B5EF4-FFF2-40B4-BE49-F238E27FC236}">
                <a16:creationId xmlns:a16="http://schemas.microsoft.com/office/drawing/2014/main" id="{B407A0B8-DA82-9A0D-B74F-959D736A3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3609" y="1782501"/>
            <a:ext cx="3630907" cy="1347842"/>
          </a:xfrm>
          <a:prstGeom prst="rect">
            <a:avLst/>
          </a:prstGeom>
        </p:spPr>
        <p:txBody>
          <a:bodyPr anchor="b"/>
          <a:lstStyle>
            <a:lvl1pPr algn="ctr">
              <a:lnSpc>
                <a:spcPct val="6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0776609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pos="429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E77DDA1B-74C7-53FC-DB6A-6B4642A991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4010" y="6563561"/>
            <a:ext cx="943356" cy="225463"/>
          </a:xfrm>
          <a:prstGeom prst="rect">
            <a:avLst/>
          </a:prstGeom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74E8A60-FE53-3C52-C496-41844D6E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423599"/>
            <a:ext cx="10801351" cy="612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50000"/>
              </a:lnSpc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1F8E5AF-BB68-A390-BD1F-CDC33905502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95325" y="1159668"/>
            <a:ext cx="10801351" cy="5060149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F578AD08-D63F-B38B-1EEA-666BD88C0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86444" y="6566882"/>
            <a:ext cx="226822" cy="224155"/>
          </a:xfrm>
          <a:prstGeom prst="ellipse">
            <a:avLst/>
          </a:prstGeom>
          <a:ln w="19050">
            <a:solidFill>
              <a:schemeClr val="accent5"/>
            </a:solidFill>
          </a:ln>
        </p:spPr>
        <p:txBody>
          <a:bodyPr lIns="0" tIns="0" rIns="0" bIns="0" anchor="ctr"/>
          <a:lstStyle>
            <a:lvl1pPr algn="ctr">
              <a:defRPr sz="1200" b="0">
                <a:solidFill>
                  <a:schemeClr val="bg1"/>
                </a:solidFill>
                <a:latin typeface="+mj-lt"/>
              </a:defRPr>
            </a:lvl1pPr>
          </a:lstStyle>
          <a:p>
            <a:fld id="{809F87CD-0A17-480A-BA0C-CEA734C9A0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86C29C4-CA0E-6BE8-2041-F7271E4580A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816762" y="6556850"/>
            <a:ext cx="3600000" cy="252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NL"/>
              <a:t>Name of your deck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31EBE2DE-0E6C-94A2-FE40-57B5777BF7A4}"/>
              </a:ext>
            </a:extLst>
          </p:cNvPr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1723064" y="6584400"/>
            <a:ext cx="18000" cy="180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NL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75078943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731">
          <p15:clr>
            <a:srgbClr val="FBAE40"/>
          </p15:clr>
        </p15:guide>
        <p15:guide id="2" pos="438">
          <p15:clr>
            <a:srgbClr val="FBAE40"/>
          </p15:clr>
        </p15:guide>
        <p15:guide id="3" pos="7242">
          <p15:clr>
            <a:srgbClr val="FBAE40"/>
          </p15:clr>
        </p15:guide>
        <p15:guide id="4" orient="horz" pos="3929">
          <p15:clr>
            <a:srgbClr val="FBAE40"/>
          </p15:clr>
        </p15:guide>
        <p15:guide id="5" orient="horz" pos="346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BF429B15-5519-2C6F-8527-46195F599056}"/>
              </a:ext>
            </a:extLst>
          </p:cNvPr>
          <p:cNvSpPr/>
          <p:nvPr userDrawn="1"/>
        </p:nvSpPr>
        <p:spPr>
          <a:xfrm>
            <a:off x="6093600" y="0"/>
            <a:ext cx="6098400" cy="6858000"/>
          </a:xfrm>
          <a:prstGeom prst="rect">
            <a:avLst/>
          </a:prstGeom>
          <a:gradFill>
            <a:gsLst>
              <a:gs pos="0">
                <a:schemeClr val="accent2">
                  <a:alpha val="70000"/>
                </a:schemeClr>
              </a:gs>
              <a:gs pos="99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D4C1FD7-76B6-5D88-CDD3-678848765C41}"/>
              </a:ext>
            </a:extLst>
          </p:cNvPr>
          <p:cNvSpPr/>
          <p:nvPr userDrawn="1"/>
        </p:nvSpPr>
        <p:spPr>
          <a:xfrm>
            <a:off x="6092558" y="0"/>
            <a:ext cx="6099442" cy="6858000"/>
          </a:xfrm>
          <a:prstGeom prst="rect">
            <a:avLst/>
          </a:prstGeom>
          <a:gradFill flip="none" rotWithShape="1">
            <a:gsLst>
              <a:gs pos="1000">
                <a:srgbClr val="1D6095"/>
              </a:gs>
              <a:gs pos="99000">
                <a:srgbClr val="0178A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E838168-ECDE-63BE-5F3E-E6CB0C5505D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093600" y="0"/>
            <a:ext cx="60984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69C9A99-CEFD-76C2-DC01-163BC7F302A9}"/>
              </a:ext>
            </a:extLst>
          </p:cNvPr>
          <p:cNvCxnSpPr>
            <a:cxnSpLocks/>
          </p:cNvCxnSpPr>
          <p:nvPr userDrawn="1"/>
        </p:nvCxnSpPr>
        <p:spPr>
          <a:xfrm>
            <a:off x="711430" y="17780"/>
            <a:ext cx="1883224" cy="0"/>
          </a:xfrm>
          <a:prstGeom prst="line">
            <a:avLst/>
          </a:prstGeom>
          <a:noFill/>
          <a:ln w="38100" cap="rnd">
            <a:solidFill>
              <a:srgbClr val="F96E46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A1F54D7-57C0-9678-3F7B-09CAA426C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6" y="417952"/>
            <a:ext cx="4679950" cy="1224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35486DB-DE52-EF36-1742-7F4A290F6F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95290" y="1661354"/>
            <a:ext cx="4679949" cy="4558463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0ADEA059-C729-514C-E678-A9F7A7F1F8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8622" y="6393083"/>
            <a:ext cx="943356" cy="225463"/>
          </a:xfrm>
          <a:prstGeom prst="rect">
            <a:avLst/>
          </a:prstGeom>
        </p:spPr>
      </p:pic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D61050BD-FCC2-0CD2-EDA5-3A2AF8F828FC}"/>
              </a:ext>
            </a:extLst>
          </p:cNvPr>
          <p:cNvSpPr txBox="1">
            <a:spLocks/>
          </p:cNvSpPr>
          <p:nvPr userDrawn="1"/>
        </p:nvSpPr>
        <p:spPr>
          <a:xfrm>
            <a:off x="5184338" y="6396404"/>
            <a:ext cx="226822" cy="224155"/>
          </a:xfrm>
          <a:prstGeom prst="ellipse">
            <a:avLst/>
          </a:prstGeom>
          <a:ln w="19050">
            <a:solidFill>
              <a:schemeClr val="accent5"/>
            </a:solidFill>
          </a:ln>
        </p:spPr>
        <p:txBody>
          <a:bodyPr lIns="0" tIns="0" rIns="0" bIns="0" anchor="ctr"/>
          <a:lstStyle>
            <a:defPPr>
              <a:defRPr lang="en-US"/>
            </a:defPPr>
            <a:lvl1pPr marL="0" algn="ctr" defTabSz="228600" rtl="0" eaLnBrk="1" latinLnBrk="0" hangingPunct="1">
              <a:defRPr sz="12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09F87CD-0A17-480A-BA0C-CEA734C9A086}" type="slidenum">
              <a:rPr lang="en-US" smtClean="0">
                <a:solidFill>
                  <a:schemeClr val="accent1"/>
                </a:solidFill>
              </a:rPr>
              <a:pPr/>
              <a:t>‹nr.›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511CB6A-AC61-D56D-7E38-75FC85D18CF7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1341848"/>
            <a:ext cx="360000" cy="36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402C159-0DF3-218D-3C9E-F184C0556BF5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3412616"/>
            <a:ext cx="360000" cy="36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5F0009B-8A96-C45C-5C26-44B3C7F63F06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1859540"/>
            <a:ext cx="360000" cy="3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C7C1B84-80D9-8EDB-DE33-F1962543F519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2377232"/>
            <a:ext cx="360000" cy="36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16542EE-DF57-EF0C-1A8B-DE107EE2AE2D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2894924"/>
            <a:ext cx="360000" cy="36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6C71E18-6A65-D371-6DA8-98D43AFB6F1D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3930308"/>
            <a:ext cx="360000" cy="36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CDCC81D-5D0B-4F22-A053-C4ADFE21568A}"/>
              </a:ext>
            </a:extLst>
          </p:cNvPr>
          <p:cNvSpPr txBox="1"/>
          <p:nvPr userDrawn="1"/>
        </p:nvSpPr>
        <p:spPr>
          <a:xfrm>
            <a:off x="-2709668" y="1321794"/>
            <a:ext cx="2058824" cy="400110"/>
          </a:xfrm>
          <a:prstGeom prst="rect">
            <a:avLst/>
          </a:prstGeom>
          <a:noFill/>
        </p:spPr>
        <p:txBody>
          <a:bodyPr wrap="none" lIns="36000" rIns="36000" rtlCol="0" anchor="ctr">
            <a:spAutoFit/>
          </a:bodyPr>
          <a:lstStyle/>
          <a:p>
            <a:pPr algn="r"/>
            <a:r>
              <a:rPr lang="en-NL" sz="1000">
                <a:solidFill>
                  <a:schemeClr val="accent5"/>
                </a:solidFill>
              </a:rPr>
              <a:t>Use color for titles</a:t>
            </a:r>
          </a:p>
          <a:p>
            <a:pPr algn="r"/>
            <a:r>
              <a:rPr lang="en-NL" sz="1000">
                <a:solidFill>
                  <a:schemeClr val="accent5"/>
                </a:solidFill>
              </a:rPr>
              <a:t>Font type title: </a:t>
            </a:r>
            <a:r>
              <a:rPr lang="en-GB" sz="1000">
                <a:solidFill>
                  <a:schemeClr val="accent5"/>
                </a:solidFill>
              </a:rPr>
              <a:t>Browallia New, size 44</a:t>
            </a:r>
            <a:endParaRPr lang="en-NL" sz="1000">
              <a:solidFill>
                <a:schemeClr val="accent5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80E8089-B39E-8EC8-5D58-7EA046873B5F}"/>
              </a:ext>
            </a:extLst>
          </p:cNvPr>
          <p:cNvSpPr txBox="1"/>
          <p:nvPr userDrawn="1"/>
        </p:nvSpPr>
        <p:spPr>
          <a:xfrm>
            <a:off x="-2291285" y="3910251"/>
            <a:ext cx="1640441" cy="400110"/>
          </a:xfrm>
          <a:prstGeom prst="rect">
            <a:avLst/>
          </a:prstGeom>
          <a:noFill/>
        </p:spPr>
        <p:txBody>
          <a:bodyPr wrap="none" lIns="36000" rIns="36000" rtlCol="0" anchor="ctr">
            <a:spAutoFit/>
          </a:bodyPr>
          <a:lstStyle/>
          <a:p>
            <a:pPr algn="r"/>
            <a:r>
              <a:rPr lang="en-NL" sz="1000">
                <a:solidFill>
                  <a:schemeClr val="accent5"/>
                </a:solidFill>
              </a:rPr>
              <a:t>Use color for text</a:t>
            </a:r>
          </a:p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NL" sz="1000">
                <a:solidFill>
                  <a:schemeClr val="accent5"/>
                </a:solidFill>
              </a:rPr>
              <a:t>Font type text: Corbel</a:t>
            </a:r>
            <a:r>
              <a:rPr lang="en-GB" sz="1000">
                <a:solidFill>
                  <a:schemeClr val="accent5"/>
                </a:solidFill>
              </a:rPr>
              <a:t>, size 14</a:t>
            </a:r>
            <a:endParaRPr lang="en-NL" sz="1000">
              <a:solidFill>
                <a:schemeClr val="accent5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6747DC8-131A-7763-2F79-F318C3CE708B}"/>
              </a:ext>
            </a:extLst>
          </p:cNvPr>
          <p:cNvSpPr/>
          <p:nvPr userDrawn="1"/>
        </p:nvSpPr>
        <p:spPr>
          <a:xfrm>
            <a:off x="6093600" y="0"/>
            <a:ext cx="6098400" cy="6858000"/>
          </a:xfrm>
          <a:prstGeom prst="rect">
            <a:avLst/>
          </a:prstGeom>
          <a:gradFill>
            <a:gsLst>
              <a:gs pos="0">
                <a:srgbClr val="1C4C94">
                  <a:alpha val="88000"/>
                </a:srgbClr>
              </a:gs>
              <a:gs pos="99000">
                <a:srgbClr val="0379A8">
                  <a:alpha val="59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973973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3386">
          <p15:clr>
            <a:srgbClr val="FBAE40"/>
          </p15:clr>
        </p15:guide>
        <p15:guide id="5" orient="horz" pos="34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92138C-F37F-2F37-65DB-69914887707D}"/>
              </a:ext>
            </a:extLst>
          </p:cNvPr>
          <p:cNvSpPr/>
          <p:nvPr userDrawn="1"/>
        </p:nvSpPr>
        <p:spPr>
          <a:xfrm>
            <a:off x="0" y="0"/>
            <a:ext cx="6099442" cy="6858000"/>
          </a:xfrm>
          <a:prstGeom prst="rect">
            <a:avLst/>
          </a:prstGeom>
          <a:gradFill>
            <a:gsLst>
              <a:gs pos="1000">
                <a:srgbClr val="1D6095"/>
              </a:gs>
              <a:gs pos="99000">
                <a:srgbClr val="0178A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A589B61-EDFA-D2C7-543D-BDBBB984E9D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0"/>
            <a:ext cx="6099442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F429B15-5519-2C6F-8527-46195F599056}"/>
              </a:ext>
            </a:extLst>
          </p:cNvPr>
          <p:cNvSpPr/>
          <p:nvPr userDrawn="1"/>
        </p:nvSpPr>
        <p:spPr>
          <a:xfrm>
            <a:off x="0" y="0"/>
            <a:ext cx="6098400" cy="6858000"/>
          </a:xfrm>
          <a:prstGeom prst="rect">
            <a:avLst/>
          </a:prstGeom>
          <a:gradFill>
            <a:gsLst>
              <a:gs pos="0">
                <a:srgbClr val="1C4C94">
                  <a:alpha val="70000"/>
                </a:srgbClr>
              </a:gs>
              <a:gs pos="99000">
                <a:srgbClr val="0379A8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A326497-0FDA-04A3-A9C4-D92DD339A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6726" y="417952"/>
            <a:ext cx="4679986" cy="1224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418E937-3933-87E6-D115-0782B4BC8A6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816726" y="1661354"/>
            <a:ext cx="4679950" cy="4558463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D9347A7-FB35-57F2-FA90-08568BF79F99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1341848"/>
            <a:ext cx="360000" cy="36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336033C-2E4B-29F1-0C13-CDC1B8218A3D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3412616"/>
            <a:ext cx="360000" cy="36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1C0FF8A-3C1F-DDA6-6017-F2DC6D677930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1859540"/>
            <a:ext cx="360000" cy="3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5077595-E2AB-5A16-8BB7-DF8F9626E6E5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2377232"/>
            <a:ext cx="360000" cy="36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CF381E7-50F7-4095-2097-AFA74AF4FC92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2894924"/>
            <a:ext cx="360000" cy="36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2FDD880-00B2-2CE6-00B0-54EF2A0CC23B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3930308"/>
            <a:ext cx="360000" cy="36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95AF8A3-C501-5DF6-9CD9-DCAE340F34E3}"/>
              </a:ext>
            </a:extLst>
          </p:cNvPr>
          <p:cNvSpPr txBox="1"/>
          <p:nvPr userDrawn="1"/>
        </p:nvSpPr>
        <p:spPr>
          <a:xfrm>
            <a:off x="-2709668" y="1321794"/>
            <a:ext cx="2058824" cy="400110"/>
          </a:xfrm>
          <a:prstGeom prst="rect">
            <a:avLst/>
          </a:prstGeom>
          <a:noFill/>
        </p:spPr>
        <p:txBody>
          <a:bodyPr wrap="none" lIns="36000" rIns="36000" rtlCol="0" anchor="ctr">
            <a:spAutoFit/>
          </a:bodyPr>
          <a:lstStyle/>
          <a:p>
            <a:pPr algn="r"/>
            <a:r>
              <a:rPr lang="en-NL" sz="1000">
                <a:solidFill>
                  <a:schemeClr val="accent5"/>
                </a:solidFill>
              </a:rPr>
              <a:t>Use color for titles</a:t>
            </a:r>
          </a:p>
          <a:p>
            <a:pPr algn="r"/>
            <a:r>
              <a:rPr lang="en-NL" sz="1000">
                <a:solidFill>
                  <a:schemeClr val="accent5"/>
                </a:solidFill>
              </a:rPr>
              <a:t>Font type title: </a:t>
            </a:r>
            <a:r>
              <a:rPr lang="en-GB" sz="1000">
                <a:solidFill>
                  <a:schemeClr val="accent5"/>
                </a:solidFill>
              </a:rPr>
              <a:t>Browallia New, size 44</a:t>
            </a:r>
            <a:endParaRPr lang="en-NL" sz="1000">
              <a:solidFill>
                <a:schemeClr val="accent5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B262EFC-0629-464B-8132-A6C20DE4DAF5}"/>
              </a:ext>
            </a:extLst>
          </p:cNvPr>
          <p:cNvSpPr txBox="1"/>
          <p:nvPr userDrawn="1"/>
        </p:nvSpPr>
        <p:spPr>
          <a:xfrm>
            <a:off x="-2291285" y="3910251"/>
            <a:ext cx="1640441" cy="400110"/>
          </a:xfrm>
          <a:prstGeom prst="rect">
            <a:avLst/>
          </a:prstGeom>
          <a:noFill/>
        </p:spPr>
        <p:txBody>
          <a:bodyPr wrap="none" lIns="36000" rIns="36000" rtlCol="0" anchor="ctr">
            <a:spAutoFit/>
          </a:bodyPr>
          <a:lstStyle/>
          <a:p>
            <a:pPr algn="r"/>
            <a:r>
              <a:rPr lang="en-NL" sz="1000">
                <a:solidFill>
                  <a:schemeClr val="accent5"/>
                </a:solidFill>
              </a:rPr>
              <a:t>Use color for text</a:t>
            </a:r>
          </a:p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NL" sz="1000">
                <a:solidFill>
                  <a:schemeClr val="accent5"/>
                </a:solidFill>
              </a:rPr>
              <a:t>Font type text: Corbel</a:t>
            </a:r>
            <a:r>
              <a:rPr lang="en-GB" sz="1000">
                <a:solidFill>
                  <a:schemeClr val="accent5"/>
                </a:solidFill>
              </a:rPr>
              <a:t>, size 14</a:t>
            </a:r>
            <a:endParaRPr lang="en-NL" sz="1000">
              <a:solidFill>
                <a:schemeClr val="accent5"/>
              </a:solidFill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8E5AA66-B3B6-43E5-E415-E1E05C824B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16726" y="6393083"/>
            <a:ext cx="943356" cy="225463"/>
          </a:xfrm>
          <a:prstGeom prst="rect">
            <a:avLst/>
          </a:prstGeom>
        </p:spPr>
      </p:pic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4A911F3D-5ACF-D865-EF3F-411CAE11C4D5}"/>
              </a:ext>
            </a:extLst>
          </p:cNvPr>
          <p:cNvSpPr txBox="1">
            <a:spLocks/>
          </p:cNvSpPr>
          <p:nvPr userDrawn="1"/>
        </p:nvSpPr>
        <p:spPr>
          <a:xfrm>
            <a:off x="11317940" y="6396404"/>
            <a:ext cx="226822" cy="224155"/>
          </a:xfrm>
          <a:prstGeom prst="ellipse">
            <a:avLst/>
          </a:prstGeom>
          <a:ln w="19050">
            <a:solidFill>
              <a:schemeClr val="accent5"/>
            </a:solidFill>
          </a:ln>
        </p:spPr>
        <p:txBody>
          <a:bodyPr lIns="0" tIns="0" rIns="0" bIns="0" anchor="ctr"/>
          <a:lstStyle>
            <a:defPPr>
              <a:defRPr lang="en-US"/>
            </a:defPPr>
            <a:lvl1pPr marL="0" algn="ctr" defTabSz="228600" rtl="0" eaLnBrk="1" latinLnBrk="0" hangingPunct="1">
              <a:defRPr sz="12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09F87CD-0A17-480A-BA0C-CEA734C9A086}" type="slidenum">
              <a:rPr lang="en-US" smtClean="0">
                <a:solidFill>
                  <a:schemeClr val="accent1"/>
                </a:solidFill>
              </a:rPr>
              <a:pPr/>
              <a:t>‹nr.›</a:t>
            </a:fld>
            <a:endParaRPr lang="en-US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1708690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3840">
          <p15:clr>
            <a:srgbClr val="FBAE40"/>
          </p15:clr>
        </p15:guide>
        <p15:guide id="3" pos="7242">
          <p15:clr>
            <a:srgbClr val="FBAE40"/>
          </p15:clr>
        </p15:guide>
        <p15:guide id="4" pos="4294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3D7AB2E-5F72-5AE1-CB40-8AAE48C9888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19138" y="0"/>
            <a:ext cx="3487737" cy="685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61AFB359-1889-C3AE-1620-C72C139C1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0800" y="1461346"/>
            <a:ext cx="5654246" cy="162660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60000"/>
              </a:lnSpc>
              <a:defRPr sz="54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7DF2FC3-85C5-EE62-2997-459BD99042A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260800" y="3224477"/>
            <a:ext cx="5654246" cy="228197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buNone/>
              <a:defRPr sz="15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6E03E89-9F3B-E163-4AC2-16CB3B83F0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53529" y="421909"/>
            <a:ext cx="1209635" cy="289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550015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177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8343792-E0B7-0403-490F-1CA46DEC27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177A3"/>
              </a:gs>
              <a:gs pos="100000">
                <a:srgbClr val="1C609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66A639F-7E97-2DEE-9FB5-DF6AA13FA9D2}"/>
              </a:ext>
            </a:extLst>
          </p:cNvPr>
          <p:cNvCxnSpPr>
            <a:cxnSpLocks/>
          </p:cNvCxnSpPr>
          <p:nvPr userDrawn="1"/>
        </p:nvCxnSpPr>
        <p:spPr>
          <a:xfrm>
            <a:off x="0" y="4965692"/>
            <a:ext cx="6249500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82DB989-03F8-3CE1-04EA-15CC1909D25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687006" y="3350"/>
            <a:ext cx="8502795" cy="6224845"/>
          </a:xfrm>
          <a:custGeom>
            <a:avLst/>
            <a:gdLst>
              <a:gd name="connsiteX0" fmla="*/ 47748 w 8502795"/>
              <a:gd name="connsiteY0" fmla="*/ 0 h 6224845"/>
              <a:gd name="connsiteX1" fmla="*/ 2626538 w 8502795"/>
              <a:gd name="connsiteY1" fmla="*/ 0 h 6224845"/>
              <a:gd name="connsiteX2" fmla="*/ 8502674 w 8502795"/>
              <a:gd name="connsiteY2" fmla="*/ 0 h 6224845"/>
              <a:gd name="connsiteX3" fmla="*/ 8502795 w 8502795"/>
              <a:gd name="connsiteY3" fmla="*/ 0 h 6224845"/>
              <a:gd name="connsiteX4" fmla="*/ 8502795 w 8502795"/>
              <a:gd name="connsiteY4" fmla="*/ 6224845 h 6224845"/>
              <a:gd name="connsiteX5" fmla="*/ 4030907 w 8502795"/>
              <a:gd name="connsiteY5" fmla="*/ 5681498 h 6224845"/>
              <a:gd name="connsiteX6" fmla="*/ 47748 w 8502795"/>
              <a:gd name="connsiteY6" fmla="*/ 0 h 6224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02795" h="6224845">
                <a:moveTo>
                  <a:pt x="47748" y="0"/>
                </a:moveTo>
                <a:lnTo>
                  <a:pt x="2626538" y="0"/>
                </a:lnTo>
                <a:lnTo>
                  <a:pt x="8502674" y="0"/>
                </a:lnTo>
                <a:lnTo>
                  <a:pt x="8502795" y="0"/>
                </a:lnTo>
                <a:lnTo>
                  <a:pt x="8502795" y="6224845"/>
                </a:lnTo>
                <a:cubicBezTo>
                  <a:pt x="5881364" y="6224845"/>
                  <a:pt x="4030907" y="5681498"/>
                  <a:pt x="4030907" y="5681498"/>
                </a:cubicBezTo>
                <a:cubicBezTo>
                  <a:pt x="-734221" y="4044249"/>
                  <a:pt x="47748" y="0"/>
                  <a:pt x="4774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  <a:endParaRPr lang="en-US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0183B35-E8E5-D8B1-512C-F1D1BCA30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7650" y="604491"/>
            <a:ext cx="1910750" cy="456671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4D050A6-A76F-877C-7627-C3038D143096}"/>
              </a:ext>
            </a:extLst>
          </p:cNvPr>
          <p:cNvCxnSpPr>
            <a:cxnSpLocks/>
          </p:cNvCxnSpPr>
          <p:nvPr userDrawn="1"/>
        </p:nvCxnSpPr>
        <p:spPr>
          <a:xfrm>
            <a:off x="527650" y="4965692"/>
            <a:ext cx="1019210" cy="0"/>
          </a:xfrm>
          <a:prstGeom prst="line">
            <a:avLst/>
          </a:prstGeom>
          <a:ln w="381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reeform: Shape 4">
            <a:extLst>
              <a:ext uri="{FF2B5EF4-FFF2-40B4-BE49-F238E27FC236}">
                <a16:creationId xmlns:a16="http://schemas.microsoft.com/office/drawing/2014/main" id="{E35271DF-AEAF-5D97-DA2B-33C4C3DFCD89}"/>
              </a:ext>
            </a:extLst>
          </p:cNvPr>
          <p:cNvSpPr/>
          <p:nvPr userDrawn="1"/>
        </p:nvSpPr>
        <p:spPr>
          <a:xfrm>
            <a:off x="3689205" y="0"/>
            <a:ext cx="8502795" cy="6224845"/>
          </a:xfrm>
          <a:custGeom>
            <a:avLst/>
            <a:gdLst>
              <a:gd name="connsiteX0" fmla="*/ 47747 w 8502795"/>
              <a:gd name="connsiteY0" fmla="*/ 0 h 6224845"/>
              <a:gd name="connsiteX1" fmla="*/ 2626537 w 8502795"/>
              <a:gd name="connsiteY1" fmla="*/ 0 h 6224845"/>
              <a:gd name="connsiteX2" fmla="*/ 4816419 w 8502795"/>
              <a:gd name="connsiteY2" fmla="*/ 5020612 h 6224845"/>
              <a:gd name="connsiteX3" fmla="*/ 8502673 w 8502795"/>
              <a:gd name="connsiteY3" fmla="*/ 5778634 h 6224845"/>
              <a:gd name="connsiteX4" fmla="*/ 8502673 w 8502795"/>
              <a:gd name="connsiteY4" fmla="*/ 0 h 6224845"/>
              <a:gd name="connsiteX5" fmla="*/ 8502795 w 8502795"/>
              <a:gd name="connsiteY5" fmla="*/ 0 h 6224845"/>
              <a:gd name="connsiteX6" fmla="*/ 8502795 w 8502795"/>
              <a:gd name="connsiteY6" fmla="*/ 6224845 h 6224845"/>
              <a:gd name="connsiteX7" fmla="*/ 4030906 w 8502795"/>
              <a:gd name="connsiteY7" fmla="*/ 5681498 h 6224845"/>
              <a:gd name="connsiteX8" fmla="*/ 47747 w 8502795"/>
              <a:gd name="connsiteY8" fmla="*/ 0 h 6224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02795" h="6224845">
                <a:moveTo>
                  <a:pt x="47747" y="0"/>
                </a:moveTo>
                <a:lnTo>
                  <a:pt x="2626537" y="0"/>
                </a:lnTo>
                <a:cubicBezTo>
                  <a:pt x="2626537" y="0"/>
                  <a:pt x="1971393" y="3691752"/>
                  <a:pt x="4816419" y="5020612"/>
                </a:cubicBezTo>
                <a:cubicBezTo>
                  <a:pt x="4816419" y="5020612"/>
                  <a:pt x="6555079" y="5834837"/>
                  <a:pt x="8502673" y="5778634"/>
                </a:cubicBezTo>
                <a:lnTo>
                  <a:pt x="8502673" y="0"/>
                </a:lnTo>
                <a:lnTo>
                  <a:pt x="8502795" y="0"/>
                </a:lnTo>
                <a:lnTo>
                  <a:pt x="8502795" y="6224845"/>
                </a:lnTo>
                <a:cubicBezTo>
                  <a:pt x="5881363" y="6224845"/>
                  <a:pt x="4030906" y="5681498"/>
                  <a:pt x="4030906" y="5681498"/>
                </a:cubicBezTo>
                <a:cubicBezTo>
                  <a:pt x="-734222" y="4044249"/>
                  <a:pt x="47747" y="0"/>
                  <a:pt x="47747" y="0"/>
                </a:cubicBezTo>
                <a:close/>
              </a:path>
            </a:pathLst>
          </a:custGeom>
          <a:solidFill>
            <a:srgbClr val="0079A8">
              <a:alpha val="56000"/>
            </a:srgbClr>
          </a:solidFill>
          <a:ln w="1220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9662F990-D2CF-3319-EEAD-A8658307D2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916" y="3429000"/>
            <a:ext cx="8570188" cy="1584561"/>
          </a:xfrm>
          <a:prstGeom prst="rect">
            <a:avLst/>
          </a:prstGeom>
        </p:spPr>
        <p:txBody>
          <a:bodyPr lIns="0" anchor="b">
            <a:noAutofit/>
          </a:bodyPr>
          <a:lstStyle>
            <a:lvl1pPr algn="l">
              <a:lnSpc>
                <a:spcPct val="60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2B2B2459-60BA-9383-547A-159C9B9623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16" y="5104011"/>
            <a:ext cx="8548255" cy="1300978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1838518700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8343792-E0B7-0403-490F-1CA46DEC27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177A3"/>
              </a:gs>
              <a:gs pos="100000">
                <a:srgbClr val="1C609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6896ABFB-CF65-1CD8-B4BD-A934F23CF541}"/>
              </a:ext>
            </a:extLst>
          </p:cNvPr>
          <p:cNvSpPr/>
          <p:nvPr userDrawn="1"/>
        </p:nvSpPr>
        <p:spPr>
          <a:xfrm>
            <a:off x="1" y="0"/>
            <a:ext cx="12191999" cy="6858001"/>
          </a:xfrm>
          <a:custGeom>
            <a:avLst/>
            <a:gdLst>
              <a:gd name="connsiteX0" fmla="*/ 11262989 w 12191999"/>
              <a:gd name="connsiteY0" fmla="*/ 3649930 h 6858001"/>
              <a:gd name="connsiteX1" fmla="*/ 11289557 w 12191999"/>
              <a:gd name="connsiteY1" fmla="*/ 3742053 h 6858001"/>
              <a:gd name="connsiteX2" fmla="*/ 11058675 w 12191999"/>
              <a:gd name="connsiteY2" fmla="*/ 5456271 h 6858001"/>
              <a:gd name="connsiteX3" fmla="*/ 10801467 w 12191999"/>
              <a:gd name="connsiteY3" fmla="*/ 6740623 h 6858001"/>
              <a:gd name="connsiteX4" fmla="*/ 10783126 w 12191999"/>
              <a:gd name="connsiteY4" fmla="*/ 6858001 h 6858001"/>
              <a:gd name="connsiteX5" fmla="*/ 9920828 w 12191999"/>
              <a:gd name="connsiteY5" fmla="*/ 6858001 h 6858001"/>
              <a:gd name="connsiteX6" fmla="*/ 10023315 w 12191999"/>
              <a:gd name="connsiteY6" fmla="*/ 6372675 h 6858001"/>
              <a:gd name="connsiteX7" fmla="*/ 10137635 w 12191999"/>
              <a:gd name="connsiteY7" fmla="*/ 5854963 h 6858001"/>
              <a:gd name="connsiteX8" fmla="*/ 11170867 w 12191999"/>
              <a:gd name="connsiteY8" fmla="*/ 3716251 h 6858001"/>
              <a:gd name="connsiteX9" fmla="*/ 11262989 w 12191999"/>
              <a:gd name="connsiteY9" fmla="*/ 3649930 h 6858001"/>
              <a:gd name="connsiteX10" fmla="*/ 10013108 w 12191999"/>
              <a:gd name="connsiteY10" fmla="*/ 1 h 6858001"/>
              <a:gd name="connsiteX11" fmla="*/ 11513123 w 12191999"/>
              <a:gd name="connsiteY11" fmla="*/ 1 h 6858001"/>
              <a:gd name="connsiteX12" fmla="*/ 11375667 w 12191999"/>
              <a:gd name="connsiteY12" fmla="*/ 242204 h 6858001"/>
              <a:gd name="connsiteX13" fmla="*/ 8901800 w 12191999"/>
              <a:gd name="connsiteY13" fmla="*/ 3065651 h 6858001"/>
              <a:gd name="connsiteX14" fmla="*/ 8849051 w 12191999"/>
              <a:gd name="connsiteY14" fmla="*/ 3092218 h 6858001"/>
              <a:gd name="connsiteX15" fmla="*/ 8835862 w 12191999"/>
              <a:gd name="connsiteY15" fmla="*/ 3065844 h 6858001"/>
              <a:gd name="connsiteX16" fmla="*/ 8848858 w 12191999"/>
              <a:gd name="connsiteY16" fmla="*/ 3039466 h 6858001"/>
              <a:gd name="connsiteX17" fmla="*/ 9928744 w 12191999"/>
              <a:gd name="connsiteY17" fmla="*/ 136047 h 6858001"/>
              <a:gd name="connsiteX18" fmla="*/ 0 w 12191999"/>
              <a:gd name="connsiteY18" fmla="*/ 0 h 6858001"/>
              <a:gd name="connsiteX19" fmla="*/ 8524326 w 12191999"/>
              <a:gd name="connsiteY19" fmla="*/ 0 h 6858001"/>
              <a:gd name="connsiteX20" fmla="*/ 8358239 w 12191999"/>
              <a:gd name="connsiteY20" fmla="*/ 358554 h 6858001"/>
              <a:gd name="connsiteX21" fmla="*/ 8182024 w 12191999"/>
              <a:gd name="connsiteY21" fmla="*/ 801561 h 6858001"/>
              <a:gd name="connsiteX22" fmla="*/ 7106740 w 12191999"/>
              <a:gd name="connsiteY22" fmla="*/ 5918991 h 6858001"/>
              <a:gd name="connsiteX23" fmla="*/ 7167886 w 12191999"/>
              <a:gd name="connsiteY23" fmla="*/ 6821267 h 6858001"/>
              <a:gd name="connsiteX24" fmla="*/ 7174068 w 12191999"/>
              <a:gd name="connsiteY24" fmla="*/ 6858000 h 6858001"/>
              <a:gd name="connsiteX25" fmla="*/ 0 w 12191999"/>
              <a:gd name="connsiteY25" fmla="*/ 6858000 h 6858001"/>
              <a:gd name="connsiteX26" fmla="*/ 12191997 w 12191999"/>
              <a:gd name="connsiteY26" fmla="*/ 0 h 6858001"/>
              <a:gd name="connsiteX27" fmla="*/ 12191999 w 12191999"/>
              <a:gd name="connsiteY27" fmla="*/ 0 h 6858001"/>
              <a:gd name="connsiteX28" fmla="*/ 12191999 w 12191999"/>
              <a:gd name="connsiteY28" fmla="*/ 6391986 h 6858001"/>
              <a:gd name="connsiteX29" fmla="*/ 12147315 w 12191999"/>
              <a:gd name="connsiteY29" fmla="*/ 6604731 h 6858001"/>
              <a:gd name="connsiteX30" fmla="*/ 12101825 w 12191999"/>
              <a:gd name="connsiteY30" fmla="*/ 6858000 h 6858001"/>
              <a:gd name="connsiteX31" fmla="*/ 12101823 w 12191999"/>
              <a:gd name="connsiteY31" fmla="*/ 6858000 h 6858001"/>
              <a:gd name="connsiteX32" fmla="*/ 12147313 w 12191999"/>
              <a:gd name="connsiteY32" fmla="*/ 6604731 h 6858001"/>
              <a:gd name="connsiteX33" fmla="*/ 12191997 w 12191999"/>
              <a:gd name="connsiteY33" fmla="*/ 6391986 h 6858001"/>
              <a:gd name="connsiteX34" fmla="*/ 12191997 w 12191999"/>
              <a:gd name="connsiteY34" fmla="*/ 3161904 h 6858001"/>
              <a:gd name="connsiteX35" fmla="*/ 12181717 w 12191999"/>
              <a:gd name="connsiteY35" fmla="*/ 3148611 h 6858001"/>
              <a:gd name="connsiteX36" fmla="*/ 11629187 w 12191999"/>
              <a:gd name="connsiteY36" fmla="*/ 2897654 h 6858001"/>
              <a:gd name="connsiteX37" fmla="*/ 10079336 w 12191999"/>
              <a:gd name="connsiteY37" fmla="*/ 4339900 h 6858001"/>
              <a:gd name="connsiteX38" fmla="*/ 9428546 w 12191999"/>
              <a:gd name="connsiteY38" fmla="*/ 6569394 h 6858001"/>
              <a:gd name="connsiteX39" fmla="*/ 9392062 w 12191999"/>
              <a:gd name="connsiteY39" fmla="*/ 6756138 h 6858001"/>
              <a:gd name="connsiteX40" fmla="*/ 9370421 w 12191999"/>
              <a:gd name="connsiteY40" fmla="*/ 6858000 h 6858001"/>
              <a:gd name="connsiteX41" fmla="*/ 8503891 w 12191999"/>
              <a:gd name="connsiteY41" fmla="*/ 6858000 h 6858001"/>
              <a:gd name="connsiteX42" fmla="*/ 8493864 w 12191999"/>
              <a:gd name="connsiteY42" fmla="*/ 6814873 h 6858001"/>
              <a:gd name="connsiteX43" fmla="*/ 8424939 w 12191999"/>
              <a:gd name="connsiteY43" fmla="*/ 5966770 h 6858001"/>
              <a:gd name="connsiteX44" fmla="*/ 8628487 w 12191999"/>
              <a:gd name="connsiteY44" fmla="*/ 3975995 h 6858001"/>
              <a:gd name="connsiteX45" fmla="*/ 8733417 w 12191999"/>
              <a:gd name="connsiteY45" fmla="*/ 3817358 h 6858001"/>
              <a:gd name="connsiteX46" fmla="*/ 11845159 w 12191999"/>
              <a:gd name="connsiteY46" fmla="*/ 656307 h 6858001"/>
              <a:gd name="connsiteX47" fmla="*/ 12039981 w 12191999"/>
              <a:gd name="connsiteY47" fmla="*/ 379343 h 6858001"/>
              <a:gd name="connsiteX48" fmla="*/ 12191997 w 12191999"/>
              <a:gd name="connsiteY48" fmla="*/ 14724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2191999" h="6858001">
                <a:moveTo>
                  <a:pt x="11262989" y="3649930"/>
                </a:moveTo>
                <a:cubicBezTo>
                  <a:pt x="11289175" y="3649930"/>
                  <a:pt x="11289367" y="3689494"/>
                  <a:pt x="11289557" y="3742053"/>
                </a:cubicBezTo>
                <a:cubicBezTo>
                  <a:pt x="11252671" y="4427626"/>
                  <a:pt x="11187877" y="4770509"/>
                  <a:pt x="11058675" y="5456271"/>
                </a:cubicBezTo>
                <a:cubicBezTo>
                  <a:pt x="10974483" y="5865189"/>
                  <a:pt x="10877249" y="6297184"/>
                  <a:pt x="10801467" y="6740623"/>
                </a:cubicBezTo>
                <a:lnTo>
                  <a:pt x="10783126" y="6858001"/>
                </a:lnTo>
                <a:lnTo>
                  <a:pt x="9920828" y="6858001"/>
                </a:lnTo>
                <a:lnTo>
                  <a:pt x="10023315" y="6372675"/>
                </a:lnTo>
                <a:cubicBezTo>
                  <a:pt x="10058939" y="6199565"/>
                  <a:pt x="10095396" y="6026452"/>
                  <a:pt x="10137635" y="5854963"/>
                </a:cubicBezTo>
                <a:cubicBezTo>
                  <a:pt x="10332203" y="5010753"/>
                  <a:pt x="10645650" y="4297852"/>
                  <a:pt x="11170867" y="3716251"/>
                </a:cubicBezTo>
                <a:cubicBezTo>
                  <a:pt x="11210241" y="3676305"/>
                  <a:pt x="11236809" y="3649930"/>
                  <a:pt x="11262989" y="3649930"/>
                </a:cubicBezTo>
                <a:close/>
                <a:moveTo>
                  <a:pt x="10013108" y="1"/>
                </a:moveTo>
                <a:lnTo>
                  <a:pt x="11513123" y="1"/>
                </a:lnTo>
                <a:lnTo>
                  <a:pt x="11375667" y="242204"/>
                </a:lnTo>
                <a:cubicBezTo>
                  <a:pt x="10719010" y="1351000"/>
                  <a:pt x="9855550" y="2162743"/>
                  <a:pt x="8901800" y="3065651"/>
                </a:cubicBezTo>
                <a:cubicBezTo>
                  <a:pt x="8888421" y="3079029"/>
                  <a:pt x="8875426" y="3092218"/>
                  <a:pt x="8849051" y="3092218"/>
                </a:cubicBezTo>
                <a:lnTo>
                  <a:pt x="8835862" y="3065844"/>
                </a:lnTo>
                <a:lnTo>
                  <a:pt x="8848858" y="3039466"/>
                </a:lnTo>
                <a:cubicBezTo>
                  <a:pt x="9099043" y="2060013"/>
                  <a:pt x="9398823" y="1036745"/>
                  <a:pt x="9928744" y="136047"/>
                </a:cubicBezTo>
                <a:close/>
                <a:moveTo>
                  <a:pt x="0" y="0"/>
                </a:moveTo>
                <a:lnTo>
                  <a:pt x="8524326" y="0"/>
                </a:lnTo>
                <a:lnTo>
                  <a:pt x="8358239" y="358554"/>
                </a:lnTo>
                <a:cubicBezTo>
                  <a:pt x="8294613" y="506688"/>
                  <a:pt x="8235850" y="654752"/>
                  <a:pt x="8182024" y="801561"/>
                </a:cubicBezTo>
                <a:cubicBezTo>
                  <a:pt x="7620684" y="2306117"/>
                  <a:pt x="7100433" y="4179350"/>
                  <a:pt x="7106740" y="5918991"/>
                </a:cubicBezTo>
                <a:cubicBezTo>
                  <a:pt x="7107697" y="6190809"/>
                  <a:pt x="7121700" y="6506340"/>
                  <a:pt x="7167886" y="6821267"/>
                </a:cubicBezTo>
                <a:lnTo>
                  <a:pt x="7174068" y="6858000"/>
                </a:lnTo>
                <a:lnTo>
                  <a:pt x="0" y="6858000"/>
                </a:lnTo>
                <a:close/>
                <a:moveTo>
                  <a:pt x="12191997" y="0"/>
                </a:moveTo>
                <a:lnTo>
                  <a:pt x="12191999" y="0"/>
                </a:lnTo>
                <a:lnTo>
                  <a:pt x="12191999" y="6391986"/>
                </a:lnTo>
                <a:lnTo>
                  <a:pt x="12147315" y="6604731"/>
                </a:lnTo>
                <a:lnTo>
                  <a:pt x="12101825" y="6858000"/>
                </a:lnTo>
                <a:lnTo>
                  <a:pt x="12101823" y="6858000"/>
                </a:lnTo>
                <a:lnTo>
                  <a:pt x="12147313" y="6604731"/>
                </a:lnTo>
                <a:lnTo>
                  <a:pt x="12191997" y="6391986"/>
                </a:lnTo>
                <a:lnTo>
                  <a:pt x="12191997" y="3161904"/>
                </a:lnTo>
                <a:lnTo>
                  <a:pt x="12181717" y="3148611"/>
                </a:lnTo>
                <a:cubicBezTo>
                  <a:pt x="12044071" y="2990650"/>
                  <a:pt x="11861475" y="2896795"/>
                  <a:pt x="11629187" y="2897654"/>
                </a:cubicBezTo>
                <a:cubicBezTo>
                  <a:pt x="10891243" y="2926706"/>
                  <a:pt x="10366788" y="3653562"/>
                  <a:pt x="10079336" y="4339900"/>
                </a:cubicBezTo>
                <a:cubicBezTo>
                  <a:pt x="9752505" y="5052801"/>
                  <a:pt x="9544370" y="5804698"/>
                  <a:pt x="9428546" y="6569394"/>
                </a:cubicBezTo>
                <a:cubicBezTo>
                  <a:pt x="9417222" y="6628740"/>
                  <a:pt x="9405089" y="6691588"/>
                  <a:pt x="9392062" y="6756138"/>
                </a:cubicBezTo>
                <a:lnTo>
                  <a:pt x="9370421" y="6858000"/>
                </a:lnTo>
                <a:lnTo>
                  <a:pt x="8503891" y="6858000"/>
                </a:lnTo>
                <a:lnTo>
                  <a:pt x="8493864" y="6814873"/>
                </a:lnTo>
                <a:cubicBezTo>
                  <a:pt x="8446871" y="6572882"/>
                  <a:pt x="8432776" y="6315960"/>
                  <a:pt x="8424939" y="5966770"/>
                </a:cubicBezTo>
                <a:cubicBezTo>
                  <a:pt x="8422454" y="5307765"/>
                  <a:pt x="8499096" y="4635571"/>
                  <a:pt x="8628487" y="3975995"/>
                </a:cubicBezTo>
                <a:cubicBezTo>
                  <a:pt x="8641487" y="3910053"/>
                  <a:pt x="8667479" y="3857304"/>
                  <a:pt x="8733417" y="3817358"/>
                </a:cubicBezTo>
                <a:cubicBezTo>
                  <a:pt x="9797232" y="2877969"/>
                  <a:pt x="10861425" y="1951382"/>
                  <a:pt x="11845159" y="656307"/>
                </a:cubicBezTo>
                <a:cubicBezTo>
                  <a:pt x="11914013" y="560505"/>
                  <a:pt x="11978963" y="468629"/>
                  <a:pt x="12039981" y="379343"/>
                </a:cubicBezTo>
                <a:lnTo>
                  <a:pt x="12191997" y="1472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0183B35-E8E5-D8B1-512C-F1D1BCA30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7650" y="604491"/>
            <a:ext cx="1910750" cy="456671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60F4218-2EE0-546D-3F79-E0E719A6FCFB}"/>
              </a:ext>
            </a:extLst>
          </p:cNvPr>
          <p:cNvCxnSpPr>
            <a:cxnSpLocks/>
          </p:cNvCxnSpPr>
          <p:nvPr userDrawn="1"/>
        </p:nvCxnSpPr>
        <p:spPr>
          <a:xfrm>
            <a:off x="0" y="4220935"/>
            <a:ext cx="6249500" cy="0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ubtitle 2">
            <a:extLst>
              <a:ext uri="{FF2B5EF4-FFF2-40B4-BE49-F238E27FC236}">
                <a16:creationId xmlns:a16="http://schemas.microsoft.com/office/drawing/2014/main" id="{F4BAC6E8-70D6-03EB-2CF9-73EF399350E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16" y="4359254"/>
            <a:ext cx="8548255" cy="1300978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PK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BADFC970-AC73-A3EA-1D39-CD87A3E84E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939" y="1963717"/>
            <a:ext cx="8570188" cy="2305087"/>
          </a:xfrm>
          <a:prstGeom prst="rect">
            <a:avLst/>
          </a:prstGeom>
        </p:spPr>
        <p:txBody>
          <a:bodyPr lIns="0" tIns="46800" rIns="0" anchor="b">
            <a:noAutofit/>
          </a:bodyPr>
          <a:lstStyle>
            <a:lvl1pPr algn="l">
              <a:lnSpc>
                <a:spcPct val="60000"/>
              </a:lnSpc>
              <a:defRPr sz="7200">
                <a:solidFill>
                  <a:schemeClr val="bg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5FE48B-DAAC-027F-E8AC-F238A14B8639}"/>
              </a:ext>
            </a:extLst>
          </p:cNvPr>
          <p:cNvCxnSpPr>
            <a:cxnSpLocks/>
          </p:cNvCxnSpPr>
          <p:nvPr userDrawn="1"/>
        </p:nvCxnSpPr>
        <p:spPr>
          <a:xfrm>
            <a:off x="527650" y="4220935"/>
            <a:ext cx="1019210" cy="0"/>
          </a:xfrm>
          <a:prstGeom prst="line">
            <a:avLst/>
          </a:prstGeom>
          <a:ln w="381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4DCE45CC-D9B6-C91F-F8F3-AE5826DDB67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27650" y="756891"/>
            <a:ext cx="1910750" cy="45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8354891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25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divi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6896ABFB-CF65-1CD8-B4BD-A934F23CF541}"/>
              </a:ext>
            </a:extLst>
          </p:cNvPr>
          <p:cNvSpPr/>
          <p:nvPr userDrawn="1"/>
        </p:nvSpPr>
        <p:spPr>
          <a:xfrm>
            <a:off x="1" y="0"/>
            <a:ext cx="12191999" cy="6858001"/>
          </a:xfrm>
          <a:custGeom>
            <a:avLst/>
            <a:gdLst>
              <a:gd name="connsiteX0" fmla="*/ 11262989 w 12191999"/>
              <a:gd name="connsiteY0" fmla="*/ 3649930 h 6858001"/>
              <a:gd name="connsiteX1" fmla="*/ 11289557 w 12191999"/>
              <a:gd name="connsiteY1" fmla="*/ 3742053 h 6858001"/>
              <a:gd name="connsiteX2" fmla="*/ 11058675 w 12191999"/>
              <a:gd name="connsiteY2" fmla="*/ 5456271 h 6858001"/>
              <a:gd name="connsiteX3" fmla="*/ 10801467 w 12191999"/>
              <a:gd name="connsiteY3" fmla="*/ 6740623 h 6858001"/>
              <a:gd name="connsiteX4" fmla="*/ 10783126 w 12191999"/>
              <a:gd name="connsiteY4" fmla="*/ 6858001 h 6858001"/>
              <a:gd name="connsiteX5" fmla="*/ 9920828 w 12191999"/>
              <a:gd name="connsiteY5" fmla="*/ 6858001 h 6858001"/>
              <a:gd name="connsiteX6" fmla="*/ 10023315 w 12191999"/>
              <a:gd name="connsiteY6" fmla="*/ 6372675 h 6858001"/>
              <a:gd name="connsiteX7" fmla="*/ 10137635 w 12191999"/>
              <a:gd name="connsiteY7" fmla="*/ 5854963 h 6858001"/>
              <a:gd name="connsiteX8" fmla="*/ 11170867 w 12191999"/>
              <a:gd name="connsiteY8" fmla="*/ 3716251 h 6858001"/>
              <a:gd name="connsiteX9" fmla="*/ 11262989 w 12191999"/>
              <a:gd name="connsiteY9" fmla="*/ 3649930 h 6858001"/>
              <a:gd name="connsiteX10" fmla="*/ 10013108 w 12191999"/>
              <a:gd name="connsiteY10" fmla="*/ 1 h 6858001"/>
              <a:gd name="connsiteX11" fmla="*/ 11513123 w 12191999"/>
              <a:gd name="connsiteY11" fmla="*/ 1 h 6858001"/>
              <a:gd name="connsiteX12" fmla="*/ 11375667 w 12191999"/>
              <a:gd name="connsiteY12" fmla="*/ 242204 h 6858001"/>
              <a:gd name="connsiteX13" fmla="*/ 8901800 w 12191999"/>
              <a:gd name="connsiteY13" fmla="*/ 3065651 h 6858001"/>
              <a:gd name="connsiteX14" fmla="*/ 8849051 w 12191999"/>
              <a:gd name="connsiteY14" fmla="*/ 3092218 h 6858001"/>
              <a:gd name="connsiteX15" fmla="*/ 8835862 w 12191999"/>
              <a:gd name="connsiteY15" fmla="*/ 3065844 h 6858001"/>
              <a:gd name="connsiteX16" fmla="*/ 8848858 w 12191999"/>
              <a:gd name="connsiteY16" fmla="*/ 3039466 h 6858001"/>
              <a:gd name="connsiteX17" fmla="*/ 9928744 w 12191999"/>
              <a:gd name="connsiteY17" fmla="*/ 136047 h 6858001"/>
              <a:gd name="connsiteX18" fmla="*/ 0 w 12191999"/>
              <a:gd name="connsiteY18" fmla="*/ 0 h 6858001"/>
              <a:gd name="connsiteX19" fmla="*/ 8524326 w 12191999"/>
              <a:gd name="connsiteY19" fmla="*/ 0 h 6858001"/>
              <a:gd name="connsiteX20" fmla="*/ 8358239 w 12191999"/>
              <a:gd name="connsiteY20" fmla="*/ 358554 h 6858001"/>
              <a:gd name="connsiteX21" fmla="*/ 8182024 w 12191999"/>
              <a:gd name="connsiteY21" fmla="*/ 801561 h 6858001"/>
              <a:gd name="connsiteX22" fmla="*/ 7106740 w 12191999"/>
              <a:gd name="connsiteY22" fmla="*/ 5918991 h 6858001"/>
              <a:gd name="connsiteX23" fmla="*/ 7167886 w 12191999"/>
              <a:gd name="connsiteY23" fmla="*/ 6821267 h 6858001"/>
              <a:gd name="connsiteX24" fmla="*/ 7174068 w 12191999"/>
              <a:gd name="connsiteY24" fmla="*/ 6858000 h 6858001"/>
              <a:gd name="connsiteX25" fmla="*/ 0 w 12191999"/>
              <a:gd name="connsiteY25" fmla="*/ 6858000 h 6858001"/>
              <a:gd name="connsiteX26" fmla="*/ 12191997 w 12191999"/>
              <a:gd name="connsiteY26" fmla="*/ 0 h 6858001"/>
              <a:gd name="connsiteX27" fmla="*/ 12191999 w 12191999"/>
              <a:gd name="connsiteY27" fmla="*/ 0 h 6858001"/>
              <a:gd name="connsiteX28" fmla="*/ 12191999 w 12191999"/>
              <a:gd name="connsiteY28" fmla="*/ 6391986 h 6858001"/>
              <a:gd name="connsiteX29" fmla="*/ 12147315 w 12191999"/>
              <a:gd name="connsiteY29" fmla="*/ 6604731 h 6858001"/>
              <a:gd name="connsiteX30" fmla="*/ 12101825 w 12191999"/>
              <a:gd name="connsiteY30" fmla="*/ 6858000 h 6858001"/>
              <a:gd name="connsiteX31" fmla="*/ 12101823 w 12191999"/>
              <a:gd name="connsiteY31" fmla="*/ 6858000 h 6858001"/>
              <a:gd name="connsiteX32" fmla="*/ 12147313 w 12191999"/>
              <a:gd name="connsiteY32" fmla="*/ 6604731 h 6858001"/>
              <a:gd name="connsiteX33" fmla="*/ 12191997 w 12191999"/>
              <a:gd name="connsiteY33" fmla="*/ 6391986 h 6858001"/>
              <a:gd name="connsiteX34" fmla="*/ 12191997 w 12191999"/>
              <a:gd name="connsiteY34" fmla="*/ 3161904 h 6858001"/>
              <a:gd name="connsiteX35" fmla="*/ 12181717 w 12191999"/>
              <a:gd name="connsiteY35" fmla="*/ 3148611 h 6858001"/>
              <a:gd name="connsiteX36" fmla="*/ 11629187 w 12191999"/>
              <a:gd name="connsiteY36" fmla="*/ 2897654 h 6858001"/>
              <a:gd name="connsiteX37" fmla="*/ 10079336 w 12191999"/>
              <a:gd name="connsiteY37" fmla="*/ 4339900 h 6858001"/>
              <a:gd name="connsiteX38" fmla="*/ 9428546 w 12191999"/>
              <a:gd name="connsiteY38" fmla="*/ 6569394 h 6858001"/>
              <a:gd name="connsiteX39" fmla="*/ 9392062 w 12191999"/>
              <a:gd name="connsiteY39" fmla="*/ 6756138 h 6858001"/>
              <a:gd name="connsiteX40" fmla="*/ 9370421 w 12191999"/>
              <a:gd name="connsiteY40" fmla="*/ 6858000 h 6858001"/>
              <a:gd name="connsiteX41" fmla="*/ 8503891 w 12191999"/>
              <a:gd name="connsiteY41" fmla="*/ 6858000 h 6858001"/>
              <a:gd name="connsiteX42" fmla="*/ 8493864 w 12191999"/>
              <a:gd name="connsiteY42" fmla="*/ 6814873 h 6858001"/>
              <a:gd name="connsiteX43" fmla="*/ 8424939 w 12191999"/>
              <a:gd name="connsiteY43" fmla="*/ 5966770 h 6858001"/>
              <a:gd name="connsiteX44" fmla="*/ 8628487 w 12191999"/>
              <a:gd name="connsiteY44" fmla="*/ 3975995 h 6858001"/>
              <a:gd name="connsiteX45" fmla="*/ 8733417 w 12191999"/>
              <a:gd name="connsiteY45" fmla="*/ 3817358 h 6858001"/>
              <a:gd name="connsiteX46" fmla="*/ 11845159 w 12191999"/>
              <a:gd name="connsiteY46" fmla="*/ 656307 h 6858001"/>
              <a:gd name="connsiteX47" fmla="*/ 12039981 w 12191999"/>
              <a:gd name="connsiteY47" fmla="*/ 379343 h 6858001"/>
              <a:gd name="connsiteX48" fmla="*/ 12191997 w 12191999"/>
              <a:gd name="connsiteY48" fmla="*/ 14724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2191999" h="6858001">
                <a:moveTo>
                  <a:pt x="11262989" y="3649930"/>
                </a:moveTo>
                <a:cubicBezTo>
                  <a:pt x="11289175" y="3649930"/>
                  <a:pt x="11289367" y="3689494"/>
                  <a:pt x="11289557" y="3742053"/>
                </a:cubicBezTo>
                <a:cubicBezTo>
                  <a:pt x="11252671" y="4427626"/>
                  <a:pt x="11187877" y="4770509"/>
                  <a:pt x="11058675" y="5456271"/>
                </a:cubicBezTo>
                <a:cubicBezTo>
                  <a:pt x="10974483" y="5865189"/>
                  <a:pt x="10877249" y="6297184"/>
                  <a:pt x="10801467" y="6740623"/>
                </a:cubicBezTo>
                <a:lnTo>
                  <a:pt x="10783126" y="6858001"/>
                </a:lnTo>
                <a:lnTo>
                  <a:pt x="9920828" y="6858001"/>
                </a:lnTo>
                <a:lnTo>
                  <a:pt x="10023315" y="6372675"/>
                </a:lnTo>
                <a:cubicBezTo>
                  <a:pt x="10058939" y="6199565"/>
                  <a:pt x="10095396" y="6026452"/>
                  <a:pt x="10137635" y="5854963"/>
                </a:cubicBezTo>
                <a:cubicBezTo>
                  <a:pt x="10332203" y="5010753"/>
                  <a:pt x="10645650" y="4297852"/>
                  <a:pt x="11170867" y="3716251"/>
                </a:cubicBezTo>
                <a:cubicBezTo>
                  <a:pt x="11210241" y="3676305"/>
                  <a:pt x="11236809" y="3649930"/>
                  <a:pt x="11262989" y="3649930"/>
                </a:cubicBezTo>
                <a:close/>
                <a:moveTo>
                  <a:pt x="10013108" y="1"/>
                </a:moveTo>
                <a:lnTo>
                  <a:pt x="11513123" y="1"/>
                </a:lnTo>
                <a:lnTo>
                  <a:pt x="11375667" y="242204"/>
                </a:lnTo>
                <a:cubicBezTo>
                  <a:pt x="10719010" y="1351000"/>
                  <a:pt x="9855550" y="2162743"/>
                  <a:pt x="8901800" y="3065651"/>
                </a:cubicBezTo>
                <a:cubicBezTo>
                  <a:pt x="8888421" y="3079029"/>
                  <a:pt x="8875426" y="3092218"/>
                  <a:pt x="8849051" y="3092218"/>
                </a:cubicBezTo>
                <a:lnTo>
                  <a:pt x="8835862" y="3065844"/>
                </a:lnTo>
                <a:lnTo>
                  <a:pt x="8848858" y="3039466"/>
                </a:lnTo>
                <a:cubicBezTo>
                  <a:pt x="9099043" y="2060013"/>
                  <a:pt x="9398823" y="1036745"/>
                  <a:pt x="9928744" y="136047"/>
                </a:cubicBezTo>
                <a:close/>
                <a:moveTo>
                  <a:pt x="0" y="0"/>
                </a:moveTo>
                <a:lnTo>
                  <a:pt x="8524326" y="0"/>
                </a:lnTo>
                <a:lnTo>
                  <a:pt x="8358239" y="358554"/>
                </a:lnTo>
                <a:cubicBezTo>
                  <a:pt x="8294613" y="506688"/>
                  <a:pt x="8235850" y="654752"/>
                  <a:pt x="8182024" y="801561"/>
                </a:cubicBezTo>
                <a:cubicBezTo>
                  <a:pt x="7620684" y="2306117"/>
                  <a:pt x="7100433" y="4179350"/>
                  <a:pt x="7106740" y="5918991"/>
                </a:cubicBezTo>
                <a:cubicBezTo>
                  <a:pt x="7107697" y="6190809"/>
                  <a:pt x="7121700" y="6506340"/>
                  <a:pt x="7167886" y="6821267"/>
                </a:cubicBezTo>
                <a:lnTo>
                  <a:pt x="7174068" y="6858000"/>
                </a:lnTo>
                <a:lnTo>
                  <a:pt x="0" y="6858000"/>
                </a:lnTo>
                <a:close/>
                <a:moveTo>
                  <a:pt x="12191997" y="0"/>
                </a:moveTo>
                <a:lnTo>
                  <a:pt x="12191999" y="0"/>
                </a:lnTo>
                <a:lnTo>
                  <a:pt x="12191999" y="6391986"/>
                </a:lnTo>
                <a:lnTo>
                  <a:pt x="12147315" y="6604731"/>
                </a:lnTo>
                <a:lnTo>
                  <a:pt x="12101825" y="6858000"/>
                </a:lnTo>
                <a:lnTo>
                  <a:pt x="12101823" y="6858000"/>
                </a:lnTo>
                <a:lnTo>
                  <a:pt x="12147313" y="6604731"/>
                </a:lnTo>
                <a:lnTo>
                  <a:pt x="12191997" y="6391986"/>
                </a:lnTo>
                <a:lnTo>
                  <a:pt x="12191997" y="3161904"/>
                </a:lnTo>
                <a:lnTo>
                  <a:pt x="12181717" y="3148611"/>
                </a:lnTo>
                <a:cubicBezTo>
                  <a:pt x="12044071" y="2990650"/>
                  <a:pt x="11861475" y="2896795"/>
                  <a:pt x="11629187" y="2897654"/>
                </a:cubicBezTo>
                <a:cubicBezTo>
                  <a:pt x="10891243" y="2926706"/>
                  <a:pt x="10366788" y="3653562"/>
                  <a:pt x="10079336" y="4339900"/>
                </a:cubicBezTo>
                <a:cubicBezTo>
                  <a:pt x="9752505" y="5052801"/>
                  <a:pt x="9544370" y="5804698"/>
                  <a:pt x="9428546" y="6569394"/>
                </a:cubicBezTo>
                <a:cubicBezTo>
                  <a:pt x="9417222" y="6628740"/>
                  <a:pt x="9405089" y="6691588"/>
                  <a:pt x="9392062" y="6756138"/>
                </a:cubicBezTo>
                <a:lnTo>
                  <a:pt x="9370421" y="6858000"/>
                </a:lnTo>
                <a:lnTo>
                  <a:pt x="8503891" y="6858000"/>
                </a:lnTo>
                <a:lnTo>
                  <a:pt x="8493864" y="6814873"/>
                </a:lnTo>
                <a:cubicBezTo>
                  <a:pt x="8446871" y="6572882"/>
                  <a:pt x="8432776" y="6315960"/>
                  <a:pt x="8424939" y="5966770"/>
                </a:cubicBezTo>
                <a:cubicBezTo>
                  <a:pt x="8422454" y="5307765"/>
                  <a:pt x="8499096" y="4635571"/>
                  <a:pt x="8628487" y="3975995"/>
                </a:cubicBezTo>
                <a:cubicBezTo>
                  <a:pt x="8641487" y="3910053"/>
                  <a:pt x="8667479" y="3857304"/>
                  <a:pt x="8733417" y="3817358"/>
                </a:cubicBezTo>
                <a:cubicBezTo>
                  <a:pt x="9797232" y="2877969"/>
                  <a:pt x="10861425" y="1951382"/>
                  <a:pt x="11845159" y="656307"/>
                </a:cubicBezTo>
                <a:cubicBezTo>
                  <a:pt x="11914013" y="560505"/>
                  <a:pt x="11978963" y="468629"/>
                  <a:pt x="12039981" y="379343"/>
                </a:cubicBezTo>
                <a:lnTo>
                  <a:pt x="12191997" y="1472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6E9DEA9B-625B-FF05-FB58-26962F8477B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106684" y="0"/>
            <a:ext cx="5085316" cy="6858000"/>
          </a:xfrm>
          <a:custGeom>
            <a:avLst/>
            <a:gdLst>
              <a:gd name="connsiteX0" fmla="*/ 5085316 w 5085316"/>
              <a:gd name="connsiteY0" fmla="*/ 6391986 h 6858000"/>
              <a:gd name="connsiteX1" fmla="*/ 5085316 w 5085316"/>
              <a:gd name="connsiteY1" fmla="*/ 6858000 h 6858000"/>
              <a:gd name="connsiteX2" fmla="*/ 4995142 w 5085316"/>
              <a:gd name="connsiteY2" fmla="*/ 6858000 h 6858000"/>
              <a:gd name="connsiteX3" fmla="*/ 5040632 w 5085316"/>
              <a:gd name="connsiteY3" fmla="*/ 6604731 h 6858000"/>
              <a:gd name="connsiteX4" fmla="*/ 4522504 w 5085316"/>
              <a:gd name="connsiteY4" fmla="*/ 2897654 h 6858000"/>
              <a:gd name="connsiteX5" fmla="*/ 5075034 w 5085316"/>
              <a:gd name="connsiteY5" fmla="*/ 3148611 h 6858000"/>
              <a:gd name="connsiteX6" fmla="*/ 5085314 w 5085316"/>
              <a:gd name="connsiteY6" fmla="*/ 3161904 h 6858000"/>
              <a:gd name="connsiteX7" fmla="*/ 5085314 w 5085316"/>
              <a:gd name="connsiteY7" fmla="*/ 6391986 h 6858000"/>
              <a:gd name="connsiteX8" fmla="*/ 5040630 w 5085316"/>
              <a:gd name="connsiteY8" fmla="*/ 6604731 h 6858000"/>
              <a:gd name="connsiteX9" fmla="*/ 4995140 w 5085316"/>
              <a:gd name="connsiteY9" fmla="*/ 6858000 h 6858000"/>
              <a:gd name="connsiteX10" fmla="*/ 3676443 w 5085316"/>
              <a:gd name="connsiteY10" fmla="*/ 6858000 h 6858000"/>
              <a:gd name="connsiteX11" fmla="*/ 3694784 w 5085316"/>
              <a:gd name="connsiteY11" fmla="*/ 6740622 h 6858000"/>
              <a:gd name="connsiteX12" fmla="*/ 3951992 w 5085316"/>
              <a:gd name="connsiteY12" fmla="*/ 5456270 h 6858000"/>
              <a:gd name="connsiteX13" fmla="*/ 4182874 w 5085316"/>
              <a:gd name="connsiteY13" fmla="*/ 3742052 h 6858000"/>
              <a:gd name="connsiteX14" fmla="*/ 4156306 w 5085316"/>
              <a:gd name="connsiteY14" fmla="*/ 3649929 h 6858000"/>
              <a:gd name="connsiteX15" fmla="*/ 4064184 w 5085316"/>
              <a:gd name="connsiteY15" fmla="*/ 3716250 h 6858000"/>
              <a:gd name="connsiteX16" fmla="*/ 3030952 w 5085316"/>
              <a:gd name="connsiteY16" fmla="*/ 5854962 h 6858000"/>
              <a:gd name="connsiteX17" fmla="*/ 2916632 w 5085316"/>
              <a:gd name="connsiteY17" fmla="*/ 6372674 h 6858000"/>
              <a:gd name="connsiteX18" fmla="*/ 2814145 w 5085316"/>
              <a:gd name="connsiteY18" fmla="*/ 6858000 h 6858000"/>
              <a:gd name="connsiteX19" fmla="*/ 2263738 w 5085316"/>
              <a:gd name="connsiteY19" fmla="*/ 6858000 h 6858000"/>
              <a:gd name="connsiteX20" fmla="*/ 2285379 w 5085316"/>
              <a:gd name="connsiteY20" fmla="*/ 6756138 h 6858000"/>
              <a:gd name="connsiteX21" fmla="*/ 2321863 w 5085316"/>
              <a:gd name="connsiteY21" fmla="*/ 6569394 h 6858000"/>
              <a:gd name="connsiteX22" fmla="*/ 2972653 w 5085316"/>
              <a:gd name="connsiteY22" fmla="*/ 4339900 h 6858000"/>
              <a:gd name="connsiteX23" fmla="*/ 4522504 w 5085316"/>
              <a:gd name="connsiteY23" fmla="*/ 2897654 h 6858000"/>
              <a:gd name="connsiteX24" fmla="*/ 1417643 w 5085316"/>
              <a:gd name="connsiteY24" fmla="*/ 0 h 6858000"/>
              <a:gd name="connsiteX25" fmla="*/ 2906425 w 5085316"/>
              <a:gd name="connsiteY25" fmla="*/ 0 h 6858000"/>
              <a:gd name="connsiteX26" fmla="*/ 2822061 w 5085316"/>
              <a:gd name="connsiteY26" fmla="*/ 136046 h 6858000"/>
              <a:gd name="connsiteX27" fmla="*/ 1742175 w 5085316"/>
              <a:gd name="connsiteY27" fmla="*/ 3039465 h 6858000"/>
              <a:gd name="connsiteX28" fmla="*/ 1729179 w 5085316"/>
              <a:gd name="connsiteY28" fmla="*/ 3065843 h 6858000"/>
              <a:gd name="connsiteX29" fmla="*/ 1742368 w 5085316"/>
              <a:gd name="connsiteY29" fmla="*/ 3092217 h 6858000"/>
              <a:gd name="connsiteX30" fmla="*/ 1795117 w 5085316"/>
              <a:gd name="connsiteY30" fmla="*/ 3065650 h 6858000"/>
              <a:gd name="connsiteX31" fmla="*/ 4268984 w 5085316"/>
              <a:gd name="connsiteY31" fmla="*/ 242203 h 6858000"/>
              <a:gd name="connsiteX32" fmla="*/ 4406440 w 5085316"/>
              <a:gd name="connsiteY32" fmla="*/ 0 h 6858000"/>
              <a:gd name="connsiteX33" fmla="*/ 5085314 w 5085316"/>
              <a:gd name="connsiteY33" fmla="*/ 0 h 6858000"/>
              <a:gd name="connsiteX34" fmla="*/ 5085314 w 5085316"/>
              <a:gd name="connsiteY34" fmla="*/ 147240 h 6858000"/>
              <a:gd name="connsiteX35" fmla="*/ 4933298 w 5085316"/>
              <a:gd name="connsiteY35" fmla="*/ 379343 h 6858000"/>
              <a:gd name="connsiteX36" fmla="*/ 4738476 w 5085316"/>
              <a:gd name="connsiteY36" fmla="*/ 656307 h 6858000"/>
              <a:gd name="connsiteX37" fmla="*/ 1626734 w 5085316"/>
              <a:gd name="connsiteY37" fmla="*/ 3817358 h 6858000"/>
              <a:gd name="connsiteX38" fmla="*/ 1521804 w 5085316"/>
              <a:gd name="connsiteY38" fmla="*/ 3975995 h 6858000"/>
              <a:gd name="connsiteX39" fmla="*/ 1318256 w 5085316"/>
              <a:gd name="connsiteY39" fmla="*/ 5966770 h 6858000"/>
              <a:gd name="connsiteX40" fmla="*/ 1387181 w 5085316"/>
              <a:gd name="connsiteY40" fmla="*/ 6814873 h 6858000"/>
              <a:gd name="connsiteX41" fmla="*/ 1397208 w 5085316"/>
              <a:gd name="connsiteY41" fmla="*/ 6858000 h 6858000"/>
              <a:gd name="connsiteX42" fmla="*/ 67385 w 5085316"/>
              <a:gd name="connsiteY42" fmla="*/ 6858000 h 6858000"/>
              <a:gd name="connsiteX43" fmla="*/ 61203 w 5085316"/>
              <a:gd name="connsiteY43" fmla="*/ 6821267 h 6858000"/>
              <a:gd name="connsiteX44" fmla="*/ 57 w 5085316"/>
              <a:gd name="connsiteY44" fmla="*/ 5918991 h 6858000"/>
              <a:gd name="connsiteX45" fmla="*/ 1075341 w 5085316"/>
              <a:gd name="connsiteY45" fmla="*/ 801561 h 6858000"/>
              <a:gd name="connsiteX46" fmla="*/ 1251556 w 5085316"/>
              <a:gd name="connsiteY46" fmla="*/ 35855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5085316" h="6858000">
                <a:moveTo>
                  <a:pt x="5085316" y="6391986"/>
                </a:moveTo>
                <a:lnTo>
                  <a:pt x="5085316" y="6858000"/>
                </a:lnTo>
                <a:lnTo>
                  <a:pt x="4995142" y="6858000"/>
                </a:lnTo>
                <a:lnTo>
                  <a:pt x="5040632" y="6604731"/>
                </a:lnTo>
                <a:close/>
                <a:moveTo>
                  <a:pt x="4522504" y="2897654"/>
                </a:moveTo>
                <a:cubicBezTo>
                  <a:pt x="4754792" y="2896795"/>
                  <a:pt x="4937388" y="2990650"/>
                  <a:pt x="5075034" y="3148611"/>
                </a:cubicBezTo>
                <a:lnTo>
                  <a:pt x="5085314" y="3161904"/>
                </a:lnTo>
                <a:lnTo>
                  <a:pt x="5085314" y="6391986"/>
                </a:lnTo>
                <a:lnTo>
                  <a:pt x="5040630" y="6604731"/>
                </a:lnTo>
                <a:lnTo>
                  <a:pt x="4995140" y="6858000"/>
                </a:lnTo>
                <a:lnTo>
                  <a:pt x="3676443" y="6858000"/>
                </a:lnTo>
                <a:lnTo>
                  <a:pt x="3694784" y="6740622"/>
                </a:lnTo>
                <a:cubicBezTo>
                  <a:pt x="3770566" y="6297183"/>
                  <a:pt x="3867800" y="5865188"/>
                  <a:pt x="3951992" y="5456270"/>
                </a:cubicBezTo>
                <a:cubicBezTo>
                  <a:pt x="4081194" y="4770508"/>
                  <a:pt x="4145988" y="4427625"/>
                  <a:pt x="4182874" y="3742052"/>
                </a:cubicBezTo>
                <a:cubicBezTo>
                  <a:pt x="4182684" y="3689493"/>
                  <a:pt x="4182492" y="3649929"/>
                  <a:pt x="4156306" y="3649929"/>
                </a:cubicBezTo>
                <a:cubicBezTo>
                  <a:pt x="4130126" y="3649929"/>
                  <a:pt x="4103558" y="3676304"/>
                  <a:pt x="4064184" y="3716250"/>
                </a:cubicBezTo>
                <a:cubicBezTo>
                  <a:pt x="3538967" y="4297851"/>
                  <a:pt x="3225520" y="5010752"/>
                  <a:pt x="3030952" y="5854962"/>
                </a:cubicBezTo>
                <a:cubicBezTo>
                  <a:pt x="2988713" y="6026451"/>
                  <a:pt x="2952256" y="6199564"/>
                  <a:pt x="2916632" y="6372674"/>
                </a:cubicBezTo>
                <a:lnTo>
                  <a:pt x="2814145" y="6858000"/>
                </a:lnTo>
                <a:lnTo>
                  <a:pt x="2263738" y="6858000"/>
                </a:lnTo>
                <a:lnTo>
                  <a:pt x="2285379" y="6756138"/>
                </a:lnTo>
                <a:cubicBezTo>
                  <a:pt x="2298406" y="6691588"/>
                  <a:pt x="2310539" y="6628740"/>
                  <a:pt x="2321863" y="6569394"/>
                </a:cubicBezTo>
                <a:cubicBezTo>
                  <a:pt x="2437687" y="5804698"/>
                  <a:pt x="2645822" y="5052801"/>
                  <a:pt x="2972653" y="4339900"/>
                </a:cubicBezTo>
                <a:cubicBezTo>
                  <a:pt x="3260105" y="3653562"/>
                  <a:pt x="3784560" y="2926706"/>
                  <a:pt x="4522504" y="2897654"/>
                </a:cubicBezTo>
                <a:close/>
                <a:moveTo>
                  <a:pt x="1417643" y="0"/>
                </a:moveTo>
                <a:lnTo>
                  <a:pt x="2906425" y="0"/>
                </a:lnTo>
                <a:lnTo>
                  <a:pt x="2822061" y="136046"/>
                </a:lnTo>
                <a:cubicBezTo>
                  <a:pt x="2292140" y="1036744"/>
                  <a:pt x="1992360" y="2060012"/>
                  <a:pt x="1742175" y="3039465"/>
                </a:cubicBezTo>
                <a:lnTo>
                  <a:pt x="1729179" y="3065843"/>
                </a:lnTo>
                <a:lnTo>
                  <a:pt x="1742368" y="3092217"/>
                </a:lnTo>
                <a:cubicBezTo>
                  <a:pt x="1768743" y="3092217"/>
                  <a:pt x="1781738" y="3079028"/>
                  <a:pt x="1795117" y="3065650"/>
                </a:cubicBezTo>
                <a:cubicBezTo>
                  <a:pt x="2748867" y="2162742"/>
                  <a:pt x="3612327" y="1350999"/>
                  <a:pt x="4268984" y="242203"/>
                </a:cubicBezTo>
                <a:lnTo>
                  <a:pt x="4406440" y="0"/>
                </a:lnTo>
                <a:lnTo>
                  <a:pt x="5085314" y="0"/>
                </a:lnTo>
                <a:lnTo>
                  <a:pt x="5085314" y="147240"/>
                </a:lnTo>
                <a:lnTo>
                  <a:pt x="4933298" y="379343"/>
                </a:lnTo>
                <a:cubicBezTo>
                  <a:pt x="4872280" y="468629"/>
                  <a:pt x="4807330" y="560505"/>
                  <a:pt x="4738476" y="656307"/>
                </a:cubicBezTo>
                <a:cubicBezTo>
                  <a:pt x="3754742" y="1951382"/>
                  <a:pt x="2690549" y="2877969"/>
                  <a:pt x="1626734" y="3817358"/>
                </a:cubicBezTo>
                <a:cubicBezTo>
                  <a:pt x="1560796" y="3857304"/>
                  <a:pt x="1534804" y="3910053"/>
                  <a:pt x="1521804" y="3975995"/>
                </a:cubicBezTo>
                <a:cubicBezTo>
                  <a:pt x="1392413" y="4635571"/>
                  <a:pt x="1315771" y="5307765"/>
                  <a:pt x="1318256" y="5966770"/>
                </a:cubicBezTo>
                <a:cubicBezTo>
                  <a:pt x="1326093" y="6315960"/>
                  <a:pt x="1340188" y="6572882"/>
                  <a:pt x="1387181" y="6814873"/>
                </a:cubicBezTo>
                <a:lnTo>
                  <a:pt x="1397208" y="6858000"/>
                </a:lnTo>
                <a:lnTo>
                  <a:pt x="67385" y="6858000"/>
                </a:lnTo>
                <a:lnTo>
                  <a:pt x="61203" y="6821267"/>
                </a:lnTo>
                <a:cubicBezTo>
                  <a:pt x="15017" y="6506340"/>
                  <a:pt x="1014" y="6190809"/>
                  <a:pt x="57" y="5918991"/>
                </a:cubicBezTo>
                <a:cubicBezTo>
                  <a:pt x="-6250" y="4179350"/>
                  <a:pt x="514001" y="2306117"/>
                  <a:pt x="1075341" y="801561"/>
                </a:cubicBezTo>
                <a:cubicBezTo>
                  <a:pt x="1129167" y="654752"/>
                  <a:pt x="1187930" y="506688"/>
                  <a:pt x="1251556" y="358554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0183B35-E8E5-D8B1-512C-F1D1BCA30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7650" y="604491"/>
            <a:ext cx="1910750" cy="456671"/>
          </a:xfrm>
          <a:prstGeom prst="rect">
            <a:avLst/>
          </a:prstGeom>
        </p:spPr>
      </p:pic>
      <p:sp>
        <p:nvSpPr>
          <p:cNvPr id="13" name="Subtitle 2">
            <a:extLst>
              <a:ext uri="{FF2B5EF4-FFF2-40B4-BE49-F238E27FC236}">
                <a16:creationId xmlns:a16="http://schemas.microsoft.com/office/drawing/2014/main" id="{F4BAC6E8-70D6-03EB-2CF9-73EF399350E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17" y="4359254"/>
            <a:ext cx="8548255" cy="1300978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PK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BADFC970-AC73-A3EA-1D39-CD87A3E84E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939" y="1963717"/>
            <a:ext cx="8570188" cy="2305087"/>
          </a:xfrm>
          <a:prstGeom prst="rect">
            <a:avLst/>
          </a:prstGeom>
        </p:spPr>
        <p:txBody>
          <a:bodyPr lIns="0" tIns="46800" rIns="0" anchor="b">
            <a:noAutofit/>
          </a:bodyPr>
          <a:lstStyle>
            <a:lvl1pPr algn="l">
              <a:lnSpc>
                <a:spcPct val="60000"/>
              </a:lnSpc>
              <a:defRPr sz="7200">
                <a:solidFill>
                  <a:schemeClr val="bg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2110355937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BF429B15-5519-2C6F-8527-46195F599056}"/>
              </a:ext>
            </a:extLst>
          </p:cNvPr>
          <p:cNvSpPr/>
          <p:nvPr userDrawn="1"/>
        </p:nvSpPr>
        <p:spPr>
          <a:xfrm>
            <a:off x="0" y="0"/>
            <a:ext cx="6092561" cy="6858000"/>
          </a:xfrm>
          <a:prstGeom prst="rect">
            <a:avLst/>
          </a:prstGeom>
          <a:gradFill>
            <a:gsLst>
              <a:gs pos="0">
                <a:srgbClr val="1C4C94">
                  <a:alpha val="70000"/>
                </a:srgbClr>
              </a:gs>
              <a:gs pos="99000">
                <a:srgbClr val="0379A8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692138C-F37F-2F37-65DB-69914887707D}"/>
              </a:ext>
            </a:extLst>
          </p:cNvPr>
          <p:cNvSpPr/>
          <p:nvPr userDrawn="1"/>
        </p:nvSpPr>
        <p:spPr>
          <a:xfrm>
            <a:off x="0" y="0"/>
            <a:ext cx="6099442" cy="6858000"/>
          </a:xfrm>
          <a:prstGeom prst="rect">
            <a:avLst/>
          </a:prstGeom>
          <a:gradFill>
            <a:gsLst>
              <a:gs pos="1000">
                <a:srgbClr val="1D6095"/>
              </a:gs>
              <a:gs pos="99000">
                <a:srgbClr val="0178A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8E6C4B41-FEE4-42EF-A4CC-5B1AE1E762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577045" y="1165758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l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A6FACAB6-E88A-4795-0E3C-514F7C66F79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77045" y="2837142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42" name="Text Placeholder 17">
            <a:extLst>
              <a:ext uri="{FF2B5EF4-FFF2-40B4-BE49-F238E27FC236}">
                <a16:creationId xmlns:a16="http://schemas.microsoft.com/office/drawing/2014/main" id="{0B0C0BEB-8A1B-E15D-157E-0CCEE4D2003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77045" y="4508526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570727D9-B007-1628-E384-0F12A1A124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53529" y="421909"/>
            <a:ext cx="1209635" cy="28910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8EA7766-11D0-FB4F-3D4D-55C0A5320C37}"/>
              </a:ext>
            </a:extLst>
          </p:cNvPr>
          <p:cNvCxnSpPr>
            <a:cxnSpLocks/>
          </p:cNvCxnSpPr>
          <p:nvPr userDrawn="1"/>
        </p:nvCxnSpPr>
        <p:spPr>
          <a:xfrm>
            <a:off x="7091397" y="934654"/>
            <a:ext cx="0" cy="5163773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80EBD3A1-38D1-9A23-195C-0A5F57D17AE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77045" y="2001450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E4E24B4A-0856-85DE-C580-CD81393B163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77045" y="3672834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C57F6E4D-88BC-6C59-16E3-1336C1BDBFD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577045" y="5344219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8F2D4774-7A19-26FE-BAFE-61D47E15EE48}"/>
              </a:ext>
            </a:extLst>
          </p:cNvPr>
          <p:cNvSpPr>
            <a:spLocks noGrp="1" noChangeAspect="1"/>
          </p:cNvSpPr>
          <p:nvPr>
            <p:ph type="body" sz="quarter" idx="45" hasCustomPrompt="1"/>
          </p:nvPr>
        </p:nvSpPr>
        <p:spPr>
          <a:xfrm>
            <a:off x="6821780" y="1165758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66F826E9-C23B-16A3-0473-812F0CA37F89}"/>
              </a:ext>
            </a:extLst>
          </p:cNvPr>
          <p:cNvSpPr>
            <a:spLocks noGrp="1" noChangeAspect="1"/>
          </p:cNvSpPr>
          <p:nvPr>
            <p:ph type="body" sz="quarter" idx="46" hasCustomPrompt="1"/>
          </p:nvPr>
        </p:nvSpPr>
        <p:spPr>
          <a:xfrm>
            <a:off x="6821780" y="2001450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3D62A798-8AD2-3E28-1217-DBCFF358AAAC}"/>
              </a:ext>
            </a:extLst>
          </p:cNvPr>
          <p:cNvSpPr>
            <a:spLocks noGrp="1" noChangeAspect="1"/>
          </p:cNvSpPr>
          <p:nvPr>
            <p:ph type="body" sz="quarter" idx="47" hasCustomPrompt="1"/>
          </p:nvPr>
        </p:nvSpPr>
        <p:spPr>
          <a:xfrm>
            <a:off x="6821780" y="2837142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0C8DB805-D6AA-DC93-16E5-14A7CE0A20E4}"/>
              </a:ext>
            </a:extLst>
          </p:cNvPr>
          <p:cNvSpPr>
            <a:spLocks noGrp="1" noChangeAspect="1"/>
          </p:cNvSpPr>
          <p:nvPr>
            <p:ph type="body" sz="quarter" idx="48" hasCustomPrompt="1"/>
          </p:nvPr>
        </p:nvSpPr>
        <p:spPr>
          <a:xfrm>
            <a:off x="6821780" y="3672834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733E2632-6408-C1B1-0197-81EC8778BC93}"/>
              </a:ext>
            </a:extLst>
          </p:cNvPr>
          <p:cNvSpPr>
            <a:spLocks noGrp="1" noChangeAspect="1"/>
          </p:cNvSpPr>
          <p:nvPr>
            <p:ph type="body" sz="quarter" idx="49" hasCustomPrompt="1"/>
          </p:nvPr>
        </p:nvSpPr>
        <p:spPr>
          <a:xfrm>
            <a:off x="6821780" y="4508526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F2A22727-D956-DE93-AEE0-A5BD5D55394D}"/>
              </a:ext>
            </a:extLst>
          </p:cNvPr>
          <p:cNvSpPr>
            <a:spLocks noGrp="1" noChangeAspect="1"/>
          </p:cNvSpPr>
          <p:nvPr>
            <p:ph type="body" sz="quarter" idx="50" hasCustomPrompt="1"/>
          </p:nvPr>
        </p:nvSpPr>
        <p:spPr>
          <a:xfrm>
            <a:off x="6821780" y="5344219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A589B61-EDFA-D2C7-543D-BDBBB984E9D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0"/>
            <a:ext cx="6099442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C7946B9-62ED-E1C9-D784-738B6CE36A06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0">
                <a:srgbClr val="1C4C94">
                  <a:alpha val="92000"/>
                </a:srgbClr>
              </a:gs>
              <a:gs pos="99000">
                <a:srgbClr val="0379A8">
                  <a:alpha val="75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8AF2802-7DC0-FA3E-81B5-F3CDD924310F}"/>
              </a:ext>
            </a:extLst>
          </p:cNvPr>
          <p:cNvCxnSpPr>
            <a:cxnSpLocks/>
          </p:cNvCxnSpPr>
          <p:nvPr userDrawn="1"/>
        </p:nvCxnSpPr>
        <p:spPr>
          <a:xfrm>
            <a:off x="696693" y="0"/>
            <a:ext cx="0" cy="4849871"/>
          </a:xfrm>
          <a:prstGeom prst="line">
            <a:avLst/>
          </a:prstGeom>
          <a:noFill/>
          <a:ln w="38100" cap="rnd">
            <a:solidFill>
              <a:srgbClr val="F96E46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7" name="Title 1">
            <a:extLst>
              <a:ext uri="{FF2B5EF4-FFF2-40B4-BE49-F238E27FC236}">
                <a16:creationId xmlns:a16="http://schemas.microsoft.com/office/drawing/2014/main" id="{B407A0B8-DA82-9A0D-B74F-959D736A3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3609" y="1782501"/>
            <a:ext cx="3630907" cy="1347842"/>
          </a:xfrm>
          <a:prstGeom prst="rect">
            <a:avLst/>
          </a:prstGeom>
        </p:spPr>
        <p:txBody>
          <a:bodyPr anchor="b"/>
          <a:lstStyle>
            <a:lvl1pPr algn="ctr">
              <a:lnSpc>
                <a:spcPct val="6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62424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pos="4294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E77DDA1B-74C7-53FC-DB6A-6B4642A991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4010" y="6563561"/>
            <a:ext cx="943356" cy="225463"/>
          </a:xfrm>
          <a:prstGeom prst="rect">
            <a:avLst/>
          </a:prstGeom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74E8A60-FE53-3C52-C496-41844D6E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423599"/>
            <a:ext cx="10801351" cy="612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50000"/>
              </a:lnSpc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1F8E5AF-BB68-A390-BD1F-CDC33905502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95325" y="1159668"/>
            <a:ext cx="10801351" cy="5060149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F578AD08-D63F-B38B-1EEA-666BD88C0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86444" y="6566882"/>
            <a:ext cx="226822" cy="224155"/>
          </a:xfrm>
          <a:prstGeom prst="ellipse">
            <a:avLst/>
          </a:prstGeom>
          <a:ln w="19050">
            <a:solidFill>
              <a:schemeClr val="accent5"/>
            </a:solidFill>
          </a:ln>
        </p:spPr>
        <p:txBody>
          <a:bodyPr lIns="0" tIns="0" rIns="0" bIns="0" anchor="ctr"/>
          <a:lstStyle>
            <a:lvl1pPr algn="ctr">
              <a:defRPr sz="1200" b="0">
                <a:solidFill>
                  <a:schemeClr val="bg1"/>
                </a:solidFill>
                <a:latin typeface="+mj-lt"/>
              </a:defRPr>
            </a:lvl1pPr>
          </a:lstStyle>
          <a:p>
            <a:fld id="{809F87CD-0A17-480A-BA0C-CEA734C9A0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86C29C4-CA0E-6BE8-2041-F7271E4580A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816762" y="6556850"/>
            <a:ext cx="3600000" cy="252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NL"/>
              <a:t>Name of your deck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31EBE2DE-0E6C-94A2-FE40-57B5777BF7A4}"/>
              </a:ext>
            </a:extLst>
          </p:cNvPr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1723064" y="6584400"/>
            <a:ext cx="18000" cy="180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NL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98220236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731">
          <p15:clr>
            <a:srgbClr val="FBAE40"/>
          </p15:clr>
        </p15:guide>
        <p15:guide id="2" pos="438">
          <p15:clr>
            <a:srgbClr val="FBAE40"/>
          </p15:clr>
        </p15:guide>
        <p15:guide id="3" pos="7242">
          <p15:clr>
            <a:srgbClr val="FBAE40"/>
          </p15:clr>
        </p15:guide>
        <p15:guide id="4" orient="horz" pos="3929">
          <p15:clr>
            <a:srgbClr val="FBAE40"/>
          </p15:clr>
        </p15:guide>
        <p15:guide id="5" orient="horz" pos="34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BF429B15-5519-2C6F-8527-46195F599056}"/>
              </a:ext>
            </a:extLst>
          </p:cNvPr>
          <p:cNvSpPr/>
          <p:nvPr userDrawn="1"/>
        </p:nvSpPr>
        <p:spPr>
          <a:xfrm>
            <a:off x="6093600" y="0"/>
            <a:ext cx="6098400" cy="6858000"/>
          </a:xfrm>
          <a:prstGeom prst="rect">
            <a:avLst/>
          </a:prstGeom>
          <a:gradFill>
            <a:gsLst>
              <a:gs pos="0">
                <a:schemeClr val="accent2">
                  <a:alpha val="70000"/>
                </a:schemeClr>
              </a:gs>
              <a:gs pos="99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D4C1FD7-76B6-5D88-CDD3-678848765C41}"/>
              </a:ext>
            </a:extLst>
          </p:cNvPr>
          <p:cNvSpPr/>
          <p:nvPr userDrawn="1"/>
        </p:nvSpPr>
        <p:spPr>
          <a:xfrm>
            <a:off x="6092558" y="0"/>
            <a:ext cx="6099442" cy="6858000"/>
          </a:xfrm>
          <a:prstGeom prst="rect">
            <a:avLst/>
          </a:prstGeom>
          <a:gradFill flip="none" rotWithShape="1">
            <a:gsLst>
              <a:gs pos="1000">
                <a:srgbClr val="1D6095"/>
              </a:gs>
              <a:gs pos="99000">
                <a:srgbClr val="0178A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E838168-ECDE-63BE-5F3E-E6CB0C5505D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093600" y="0"/>
            <a:ext cx="60984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69C9A99-CEFD-76C2-DC01-163BC7F302A9}"/>
              </a:ext>
            </a:extLst>
          </p:cNvPr>
          <p:cNvCxnSpPr>
            <a:cxnSpLocks/>
          </p:cNvCxnSpPr>
          <p:nvPr userDrawn="1"/>
        </p:nvCxnSpPr>
        <p:spPr>
          <a:xfrm>
            <a:off x="711430" y="17780"/>
            <a:ext cx="1883224" cy="0"/>
          </a:xfrm>
          <a:prstGeom prst="line">
            <a:avLst/>
          </a:prstGeom>
          <a:noFill/>
          <a:ln w="38100" cap="rnd">
            <a:solidFill>
              <a:srgbClr val="F96E46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A1F54D7-57C0-9678-3F7B-09CAA426C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6" y="417952"/>
            <a:ext cx="4679950" cy="1224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35486DB-DE52-EF36-1742-7F4A290F6F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95290" y="1661354"/>
            <a:ext cx="4679949" cy="4558463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0ADEA059-C729-514C-E678-A9F7A7F1F8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8622" y="6393083"/>
            <a:ext cx="943356" cy="225463"/>
          </a:xfrm>
          <a:prstGeom prst="rect">
            <a:avLst/>
          </a:prstGeom>
        </p:spPr>
      </p:pic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D61050BD-FCC2-0CD2-EDA5-3A2AF8F828FC}"/>
              </a:ext>
            </a:extLst>
          </p:cNvPr>
          <p:cNvSpPr txBox="1">
            <a:spLocks/>
          </p:cNvSpPr>
          <p:nvPr userDrawn="1"/>
        </p:nvSpPr>
        <p:spPr>
          <a:xfrm>
            <a:off x="5184338" y="6396404"/>
            <a:ext cx="226822" cy="224155"/>
          </a:xfrm>
          <a:prstGeom prst="ellipse">
            <a:avLst/>
          </a:prstGeom>
          <a:ln w="19050">
            <a:solidFill>
              <a:schemeClr val="accent5"/>
            </a:solidFill>
          </a:ln>
        </p:spPr>
        <p:txBody>
          <a:bodyPr lIns="0" tIns="0" rIns="0" bIns="0" anchor="ctr"/>
          <a:lstStyle>
            <a:defPPr>
              <a:defRPr lang="en-US"/>
            </a:defPPr>
            <a:lvl1pPr marL="0" algn="ctr" defTabSz="228600" rtl="0" eaLnBrk="1" latinLnBrk="0" hangingPunct="1">
              <a:defRPr sz="12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09F87CD-0A17-480A-BA0C-CEA734C9A086}" type="slidenum">
              <a:rPr lang="en-US" smtClean="0">
                <a:solidFill>
                  <a:schemeClr val="accent1"/>
                </a:solidFill>
              </a:rPr>
              <a:pPr/>
              <a:t>‹nr.›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511CB6A-AC61-D56D-7E38-75FC85D18CF7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1341848"/>
            <a:ext cx="360000" cy="36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402C159-0DF3-218D-3C9E-F184C0556BF5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3412616"/>
            <a:ext cx="360000" cy="36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5F0009B-8A96-C45C-5C26-44B3C7F63F06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1859540"/>
            <a:ext cx="360000" cy="3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C7C1B84-80D9-8EDB-DE33-F1962543F519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2377232"/>
            <a:ext cx="360000" cy="36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16542EE-DF57-EF0C-1A8B-DE107EE2AE2D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2894924"/>
            <a:ext cx="360000" cy="36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6C71E18-6A65-D371-6DA8-98D43AFB6F1D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3930308"/>
            <a:ext cx="360000" cy="36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CDCC81D-5D0B-4F22-A053-C4ADFE21568A}"/>
              </a:ext>
            </a:extLst>
          </p:cNvPr>
          <p:cNvSpPr txBox="1"/>
          <p:nvPr userDrawn="1"/>
        </p:nvSpPr>
        <p:spPr>
          <a:xfrm>
            <a:off x="-2709668" y="1321794"/>
            <a:ext cx="2058824" cy="400110"/>
          </a:xfrm>
          <a:prstGeom prst="rect">
            <a:avLst/>
          </a:prstGeom>
          <a:noFill/>
        </p:spPr>
        <p:txBody>
          <a:bodyPr wrap="none" lIns="36000" rIns="36000" rtlCol="0" anchor="ctr">
            <a:spAutoFit/>
          </a:bodyPr>
          <a:lstStyle/>
          <a:p>
            <a:pPr algn="r"/>
            <a:r>
              <a:rPr lang="en-NL" sz="1000">
                <a:solidFill>
                  <a:schemeClr val="accent5"/>
                </a:solidFill>
              </a:rPr>
              <a:t>Use color for titles</a:t>
            </a:r>
          </a:p>
          <a:p>
            <a:pPr algn="r"/>
            <a:r>
              <a:rPr lang="en-NL" sz="1000">
                <a:solidFill>
                  <a:schemeClr val="accent5"/>
                </a:solidFill>
              </a:rPr>
              <a:t>Font type title: </a:t>
            </a:r>
            <a:r>
              <a:rPr lang="en-GB" sz="1000">
                <a:solidFill>
                  <a:schemeClr val="accent5"/>
                </a:solidFill>
              </a:rPr>
              <a:t>Browallia New, size 44</a:t>
            </a:r>
            <a:endParaRPr lang="en-NL" sz="1000">
              <a:solidFill>
                <a:schemeClr val="accent5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80E8089-B39E-8EC8-5D58-7EA046873B5F}"/>
              </a:ext>
            </a:extLst>
          </p:cNvPr>
          <p:cNvSpPr txBox="1"/>
          <p:nvPr userDrawn="1"/>
        </p:nvSpPr>
        <p:spPr>
          <a:xfrm>
            <a:off x="-2291285" y="3910251"/>
            <a:ext cx="1640441" cy="400110"/>
          </a:xfrm>
          <a:prstGeom prst="rect">
            <a:avLst/>
          </a:prstGeom>
          <a:noFill/>
        </p:spPr>
        <p:txBody>
          <a:bodyPr wrap="none" lIns="36000" rIns="36000" rtlCol="0" anchor="ctr">
            <a:spAutoFit/>
          </a:bodyPr>
          <a:lstStyle/>
          <a:p>
            <a:pPr algn="r"/>
            <a:r>
              <a:rPr lang="en-NL" sz="1000">
                <a:solidFill>
                  <a:schemeClr val="accent5"/>
                </a:solidFill>
              </a:rPr>
              <a:t>Use color for text</a:t>
            </a:r>
          </a:p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NL" sz="1000">
                <a:solidFill>
                  <a:schemeClr val="accent5"/>
                </a:solidFill>
              </a:rPr>
              <a:t>Font type text: Corbel</a:t>
            </a:r>
            <a:r>
              <a:rPr lang="en-GB" sz="1000">
                <a:solidFill>
                  <a:schemeClr val="accent5"/>
                </a:solidFill>
              </a:rPr>
              <a:t>, size 14</a:t>
            </a:r>
            <a:endParaRPr lang="en-NL" sz="1000">
              <a:solidFill>
                <a:schemeClr val="accent5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6747DC8-131A-7763-2F79-F318C3CE708B}"/>
              </a:ext>
            </a:extLst>
          </p:cNvPr>
          <p:cNvSpPr/>
          <p:nvPr userDrawn="1"/>
        </p:nvSpPr>
        <p:spPr>
          <a:xfrm>
            <a:off x="6093600" y="0"/>
            <a:ext cx="6098400" cy="6858000"/>
          </a:xfrm>
          <a:prstGeom prst="rect">
            <a:avLst/>
          </a:prstGeom>
          <a:gradFill>
            <a:gsLst>
              <a:gs pos="0">
                <a:srgbClr val="1C4C94">
                  <a:alpha val="88000"/>
                </a:srgbClr>
              </a:gs>
              <a:gs pos="99000">
                <a:srgbClr val="0379A8">
                  <a:alpha val="59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983110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3386">
          <p15:clr>
            <a:srgbClr val="FBAE40"/>
          </p15:clr>
        </p15:guide>
        <p15:guide id="5" orient="horz" pos="34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92138C-F37F-2F37-65DB-69914887707D}"/>
              </a:ext>
            </a:extLst>
          </p:cNvPr>
          <p:cNvSpPr/>
          <p:nvPr userDrawn="1"/>
        </p:nvSpPr>
        <p:spPr>
          <a:xfrm>
            <a:off x="0" y="0"/>
            <a:ext cx="6099442" cy="6858000"/>
          </a:xfrm>
          <a:prstGeom prst="rect">
            <a:avLst/>
          </a:prstGeom>
          <a:gradFill>
            <a:gsLst>
              <a:gs pos="1000">
                <a:srgbClr val="1D6095"/>
              </a:gs>
              <a:gs pos="99000">
                <a:srgbClr val="0178A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A589B61-EDFA-D2C7-543D-BDBBB984E9D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0"/>
            <a:ext cx="6099442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F429B15-5519-2C6F-8527-46195F599056}"/>
              </a:ext>
            </a:extLst>
          </p:cNvPr>
          <p:cNvSpPr/>
          <p:nvPr userDrawn="1"/>
        </p:nvSpPr>
        <p:spPr>
          <a:xfrm>
            <a:off x="0" y="0"/>
            <a:ext cx="6098400" cy="6858000"/>
          </a:xfrm>
          <a:prstGeom prst="rect">
            <a:avLst/>
          </a:prstGeom>
          <a:gradFill>
            <a:gsLst>
              <a:gs pos="0">
                <a:srgbClr val="1C4C94">
                  <a:alpha val="70000"/>
                </a:srgbClr>
              </a:gs>
              <a:gs pos="99000">
                <a:srgbClr val="0379A8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A326497-0FDA-04A3-A9C4-D92DD339A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6726" y="417952"/>
            <a:ext cx="4679986" cy="1224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418E937-3933-87E6-D115-0782B4BC8A6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816726" y="1661354"/>
            <a:ext cx="4679950" cy="4558463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D9347A7-FB35-57F2-FA90-08568BF79F99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1341848"/>
            <a:ext cx="360000" cy="36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336033C-2E4B-29F1-0C13-CDC1B8218A3D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3412616"/>
            <a:ext cx="360000" cy="36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1C0FF8A-3C1F-DDA6-6017-F2DC6D677930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1859540"/>
            <a:ext cx="360000" cy="3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5077595-E2AB-5A16-8BB7-DF8F9626E6E5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2377232"/>
            <a:ext cx="360000" cy="36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CF381E7-50F7-4095-2097-AFA74AF4FC92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2894924"/>
            <a:ext cx="360000" cy="36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2FDD880-00B2-2CE6-00B0-54EF2A0CC23B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3930308"/>
            <a:ext cx="360000" cy="36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95AF8A3-C501-5DF6-9CD9-DCAE340F34E3}"/>
              </a:ext>
            </a:extLst>
          </p:cNvPr>
          <p:cNvSpPr txBox="1"/>
          <p:nvPr userDrawn="1"/>
        </p:nvSpPr>
        <p:spPr>
          <a:xfrm>
            <a:off x="-2709668" y="1321794"/>
            <a:ext cx="2058824" cy="400110"/>
          </a:xfrm>
          <a:prstGeom prst="rect">
            <a:avLst/>
          </a:prstGeom>
          <a:noFill/>
        </p:spPr>
        <p:txBody>
          <a:bodyPr wrap="none" lIns="36000" rIns="36000" rtlCol="0" anchor="ctr">
            <a:spAutoFit/>
          </a:bodyPr>
          <a:lstStyle/>
          <a:p>
            <a:pPr algn="r"/>
            <a:r>
              <a:rPr lang="en-NL" sz="1000">
                <a:solidFill>
                  <a:schemeClr val="accent5"/>
                </a:solidFill>
              </a:rPr>
              <a:t>Use color for titles</a:t>
            </a:r>
          </a:p>
          <a:p>
            <a:pPr algn="r"/>
            <a:r>
              <a:rPr lang="en-NL" sz="1000">
                <a:solidFill>
                  <a:schemeClr val="accent5"/>
                </a:solidFill>
              </a:rPr>
              <a:t>Font type title: </a:t>
            </a:r>
            <a:r>
              <a:rPr lang="en-GB" sz="1000">
                <a:solidFill>
                  <a:schemeClr val="accent5"/>
                </a:solidFill>
              </a:rPr>
              <a:t>Browallia New, size 44</a:t>
            </a:r>
            <a:endParaRPr lang="en-NL" sz="1000">
              <a:solidFill>
                <a:schemeClr val="accent5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B262EFC-0629-464B-8132-A6C20DE4DAF5}"/>
              </a:ext>
            </a:extLst>
          </p:cNvPr>
          <p:cNvSpPr txBox="1"/>
          <p:nvPr userDrawn="1"/>
        </p:nvSpPr>
        <p:spPr>
          <a:xfrm>
            <a:off x="-2291285" y="3910251"/>
            <a:ext cx="1640441" cy="400110"/>
          </a:xfrm>
          <a:prstGeom prst="rect">
            <a:avLst/>
          </a:prstGeom>
          <a:noFill/>
        </p:spPr>
        <p:txBody>
          <a:bodyPr wrap="none" lIns="36000" rIns="36000" rtlCol="0" anchor="ctr">
            <a:spAutoFit/>
          </a:bodyPr>
          <a:lstStyle/>
          <a:p>
            <a:pPr algn="r"/>
            <a:r>
              <a:rPr lang="en-NL" sz="1000">
                <a:solidFill>
                  <a:schemeClr val="accent5"/>
                </a:solidFill>
              </a:rPr>
              <a:t>Use color for text</a:t>
            </a:r>
          </a:p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NL" sz="1000">
                <a:solidFill>
                  <a:schemeClr val="accent5"/>
                </a:solidFill>
              </a:rPr>
              <a:t>Font type text: Corbel</a:t>
            </a:r>
            <a:r>
              <a:rPr lang="en-GB" sz="1000">
                <a:solidFill>
                  <a:schemeClr val="accent5"/>
                </a:solidFill>
              </a:rPr>
              <a:t>, size 14</a:t>
            </a:r>
            <a:endParaRPr lang="en-NL" sz="1000">
              <a:solidFill>
                <a:schemeClr val="accent5"/>
              </a:solidFill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8E5AA66-B3B6-43E5-E415-E1E05C824B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16726" y="6393083"/>
            <a:ext cx="943356" cy="225463"/>
          </a:xfrm>
          <a:prstGeom prst="rect">
            <a:avLst/>
          </a:prstGeom>
        </p:spPr>
      </p:pic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4A911F3D-5ACF-D865-EF3F-411CAE11C4D5}"/>
              </a:ext>
            </a:extLst>
          </p:cNvPr>
          <p:cNvSpPr txBox="1">
            <a:spLocks/>
          </p:cNvSpPr>
          <p:nvPr userDrawn="1"/>
        </p:nvSpPr>
        <p:spPr>
          <a:xfrm>
            <a:off x="11317940" y="6396404"/>
            <a:ext cx="226822" cy="224155"/>
          </a:xfrm>
          <a:prstGeom prst="ellipse">
            <a:avLst/>
          </a:prstGeom>
          <a:ln w="19050">
            <a:solidFill>
              <a:schemeClr val="accent5"/>
            </a:solidFill>
          </a:ln>
        </p:spPr>
        <p:txBody>
          <a:bodyPr lIns="0" tIns="0" rIns="0" bIns="0" anchor="ctr"/>
          <a:lstStyle>
            <a:defPPr>
              <a:defRPr lang="en-US"/>
            </a:defPPr>
            <a:lvl1pPr marL="0" algn="ctr" defTabSz="228600" rtl="0" eaLnBrk="1" latinLnBrk="0" hangingPunct="1">
              <a:defRPr sz="12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09F87CD-0A17-480A-BA0C-CEA734C9A086}" type="slidenum">
              <a:rPr lang="en-US" smtClean="0">
                <a:solidFill>
                  <a:schemeClr val="accent1"/>
                </a:solidFill>
              </a:rPr>
              <a:pPr/>
              <a:t>‹nr.›</a:t>
            </a:fld>
            <a:endParaRPr lang="en-US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7262399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3840">
          <p15:clr>
            <a:srgbClr val="FBAE40"/>
          </p15:clr>
        </p15:guide>
        <p15:guide id="3" pos="7242">
          <p15:clr>
            <a:srgbClr val="FBAE40"/>
          </p15:clr>
        </p15:guide>
        <p15:guide id="4" pos="4294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3D7AB2E-5F72-5AE1-CB40-8AAE48C9888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19138" y="0"/>
            <a:ext cx="3487737" cy="685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61AFB359-1889-C3AE-1620-C72C139C1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0800" y="1461346"/>
            <a:ext cx="5654246" cy="162660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60000"/>
              </a:lnSpc>
              <a:defRPr sz="54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7DF2FC3-85C5-EE62-2997-459BD99042A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260800" y="3224477"/>
            <a:ext cx="5654246" cy="228197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buNone/>
              <a:defRPr sz="15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6E03E89-9F3B-E163-4AC2-16CB3B83F0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53529" y="421909"/>
            <a:ext cx="1209635" cy="289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084183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1774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8343792-E0B7-0403-490F-1CA46DEC27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177A3"/>
              </a:gs>
              <a:gs pos="100000">
                <a:srgbClr val="1C609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6896ABFB-CF65-1CD8-B4BD-A934F23CF541}"/>
              </a:ext>
            </a:extLst>
          </p:cNvPr>
          <p:cNvSpPr/>
          <p:nvPr userDrawn="1"/>
        </p:nvSpPr>
        <p:spPr>
          <a:xfrm>
            <a:off x="1" y="0"/>
            <a:ext cx="12191999" cy="6858001"/>
          </a:xfrm>
          <a:custGeom>
            <a:avLst/>
            <a:gdLst>
              <a:gd name="connsiteX0" fmla="*/ 11262989 w 12191999"/>
              <a:gd name="connsiteY0" fmla="*/ 3649930 h 6858001"/>
              <a:gd name="connsiteX1" fmla="*/ 11289557 w 12191999"/>
              <a:gd name="connsiteY1" fmla="*/ 3742053 h 6858001"/>
              <a:gd name="connsiteX2" fmla="*/ 11058675 w 12191999"/>
              <a:gd name="connsiteY2" fmla="*/ 5456271 h 6858001"/>
              <a:gd name="connsiteX3" fmla="*/ 10801467 w 12191999"/>
              <a:gd name="connsiteY3" fmla="*/ 6740623 h 6858001"/>
              <a:gd name="connsiteX4" fmla="*/ 10783126 w 12191999"/>
              <a:gd name="connsiteY4" fmla="*/ 6858001 h 6858001"/>
              <a:gd name="connsiteX5" fmla="*/ 9920828 w 12191999"/>
              <a:gd name="connsiteY5" fmla="*/ 6858001 h 6858001"/>
              <a:gd name="connsiteX6" fmla="*/ 10023315 w 12191999"/>
              <a:gd name="connsiteY6" fmla="*/ 6372675 h 6858001"/>
              <a:gd name="connsiteX7" fmla="*/ 10137635 w 12191999"/>
              <a:gd name="connsiteY7" fmla="*/ 5854963 h 6858001"/>
              <a:gd name="connsiteX8" fmla="*/ 11170867 w 12191999"/>
              <a:gd name="connsiteY8" fmla="*/ 3716251 h 6858001"/>
              <a:gd name="connsiteX9" fmla="*/ 11262989 w 12191999"/>
              <a:gd name="connsiteY9" fmla="*/ 3649930 h 6858001"/>
              <a:gd name="connsiteX10" fmla="*/ 10013108 w 12191999"/>
              <a:gd name="connsiteY10" fmla="*/ 1 h 6858001"/>
              <a:gd name="connsiteX11" fmla="*/ 11513123 w 12191999"/>
              <a:gd name="connsiteY11" fmla="*/ 1 h 6858001"/>
              <a:gd name="connsiteX12" fmla="*/ 11375667 w 12191999"/>
              <a:gd name="connsiteY12" fmla="*/ 242204 h 6858001"/>
              <a:gd name="connsiteX13" fmla="*/ 8901800 w 12191999"/>
              <a:gd name="connsiteY13" fmla="*/ 3065651 h 6858001"/>
              <a:gd name="connsiteX14" fmla="*/ 8849051 w 12191999"/>
              <a:gd name="connsiteY14" fmla="*/ 3092218 h 6858001"/>
              <a:gd name="connsiteX15" fmla="*/ 8835862 w 12191999"/>
              <a:gd name="connsiteY15" fmla="*/ 3065844 h 6858001"/>
              <a:gd name="connsiteX16" fmla="*/ 8848858 w 12191999"/>
              <a:gd name="connsiteY16" fmla="*/ 3039466 h 6858001"/>
              <a:gd name="connsiteX17" fmla="*/ 9928744 w 12191999"/>
              <a:gd name="connsiteY17" fmla="*/ 136047 h 6858001"/>
              <a:gd name="connsiteX18" fmla="*/ 0 w 12191999"/>
              <a:gd name="connsiteY18" fmla="*/ 0 h 6858001"/>
              <a:gd name="connsiteX19" fmla="*/ 8524326 w 12191999"/>
              <a:gd name="connsiteY19" fmla="*/ 0 h 6858001"/>
              <a:gd name="connsiteX20" fmla="*/ 8358239 w 12191999"/>
              <a:gd name="connsiteY20" fmla="*/ 358554 h 6858001"/>
              <a:gd name="connsiteX21" fmla="*/ 8182024 w 12191999"/>
              <a:gd name="connsiteY21" fmla="*/ 801561 h 6858001"/>
              <a:gd name="connsiteX22" fmla="*/ 7106740 w 12191999"/>
              <a:gd name="connsiteY22" fmla="*/ 5918991 h 6858001"/>
              <a:gd name="connsiteX23" fmla="*/ 7167886 w 12191999"/>
              <a:gd name="connsiteY23" fmla="*/ 6821267 h 6858001"/>
              <a:gd name="connsiteX24" fmla="*/ 7174068 w 12191999"/>
              <a:gd name="connsiteY24" fmla="*/ 6858000 h 6858001"/>
              <a:gd name="connsiteX25" fmla="*/ 0 w 12191999"/>
              <a:gd name="connsiteY25" fmla="*/ 6858000 h 6858001"/>
              <a:gd name="connsiteX26" fmla="*/ 12191997 w 12191999"/>
              <a:gd name="connsiteY26" fmla="*/ 0 h 6858001"/>
              <a:gd name="connsiteX27" fmla="*/ 12191999 w 12191999"/>
              <a:gd name="connsiteY27" fmla="*/ 0 h 6858001"/>
              <a:gd name="connsiteX28" fmla="*/ 12191999 w 12191999"/>
              <a:gd name="connsiteY28" fmla="*/ 6391986 h 6858001"/>
              <a:gd name="connsiteX29" fmla="*/ 12147315 w 12191999"/>
              <a:gd name="connsiteY29" fmla="*/ 6604731 h 6858001"/>
              <a:gd name="connsiteX30" fmla="*/ 12101825 w 12191999"/>
              <a:gd name="connsiteY30" fmla="*/ 6858000 h 6858001"/>
              <a:gd name="connsiteX31" fmla="*/ 12101823 w 12191999"/>
              <a:gd name="connsiteY31" fmla="*/ 6858000 h 6858001"/>
              <a:gd name="connsiteX32" fmla="*/ 12147313 w 12191999"/>
              <a:gd name="connsiteY32" fmla="*/ 6604731 h 6858001"/>
              <a:gd name="connsiteX33" fmla="*/ 12191997 w 12191999"/>
              <a:gd name="connsiteY33" fmla="*/ 6391986 h 6858001"/>
              <a:gd name="connsiteX34" fmla="*/ 12191997 w 12191999"/>
              <a:gd name="connsiteY34" fmla="*/ 3161904 h 6858001"/>
              <a:gd name="connsiteX35" fmla="*/ 12181717 w 12191999"/>
              <a:gd name="connsiteY35" fmla="*/ 3148611 h 6858001"/>
              <a:gd name="connsiteX36" fmla="*/ 11629187 w 12191999"/>
              <a:gd name="connsiteY36" fmla="*/ 2897654 h 6858001"/>
              <a:gd name="connsiteX37" fmla="*/ 10079336 w 12191999"/>
              <a:gd name="connsiteY37" fmla="*/ 4339900 h 6858001"/>
              <a:gd name="connsiteX38" fmla="*/ 9428546 w 12191999"/>
              <a:gd name="connsiteY38" fmla="*/ 6569394 h 6858001"/>
              <a:gd name="connsiteX39" fmla="*/ 9392062 w 12191999"/>
              <a:gd name="connsiteY39" fmla="*/ 6756138 h 6858001"/>
              <a:gd name="connsiteX40" fmla="*/ 9370421 w 12191999"/>
              <a:gd name="connsiteY40" fmla="*/ 6858000 h 6858001"/>
              <a:gd name="connsiteX41" fmla="*/ 8503891 w 12191999"/>
              <a:gd name="connsiteY41" fmla="*/ 6858000 h 6858001"/>
              <a:gd name="connsiteX42" fmla="*/ 8493864 w 12191999"/>
              <a:gd name="connsiteY42" fmla="*/ 6814873 h 6858001"/>
              <a:gd name="connsiteX43" fmla="*/ 8424939 w 12191999"/>
              <a:gd name="connsiteY43" fmla="*/ 5966770 h 6858001"/>
              <a:gd name="connsiteX44" fmla="*/ 8628487 w 12191999"/>
              <a:gd name="connsiteY44" fmla="*/ 3975995 h 6858001"/>
              <a:gd name="connsiteX45" fmla="*/ 8733417 w 12191999"/>
              <a:gd name="connsiteY45" fmla="*/ 3817358 h 6858001"/>
              <a:gd name="connsiteX46" fmla="*/ 11845159 w 12191999"/>
              <a:gd name="connsiteY46" fmla="*/ 656307 h 6858001"/>
              <a:gd name="connsiteX47" fmla="*/ 12039981 w 12191999"/>
              <a:gd name="connsiteY47" fmla="*/ 379343 h 6858001"/>
              <a:gd name="connsiteX48" fmla="*/ 12191997 w 12191999"/>
              <a:gd name="connsiteY48" fmla="*/ 14724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2191999" h="6858001">
                <a:moveTo>
                  <a:pt x="11262989" y="3649930"/>
                </a:moveTo>
                <a:cubicBezTo>
                  <a:pt x="11289175" y="3649930"/>
                  <a:pt x="11289367" y="3689494"/>
                  <a:pt x="11289557" y="3742053"/>
                </a:cubicBezTo>
                <a:cubicBezTo>
                  <a:pt x="11252671" y="4427626"/>
                  <a:pt x="11187877" y="4770509"/>
                  <a:pt x="11058675" y="5456271"/>
                </a:cubicBezTo>
                <a:cubicBezTo>
                  <a:pt x="10974483" y="5865189"/>
                  <a:pt x="10877249" y="6297184"/>
                  <a:pt x="10801467" y="6740623"/>
                </a:cubicBezTo>
                <a:lnTo>
                  <a:pt x="10783126" y="6858001"/>
                </a:lnTo>
                <a:lnTo>
                  <a:pt x="9920828" y="6858001"/>
                </a:lnTo>
                <a:lnTo>
                  <a:pt x="10023315" y="6372675"/>
                </a:lnTo>
                <a:cubicBezTo>
                  <a:pt x="10058939" y="6199565"/>
                  <a:pt x="10095396" y="6026452"/>
                  <a:pt x="10137635" y="5854963"/>
                </a:cubicBezTo>
                <a:cubicBezTo>
                  <a:pt x="10332203" y="5010753"/>
                  <a:pt x="10645650" y="4297852"/>
                  <a:pt x="11170867" y="3716251"/>
                </a:cubicBezTo>
                <a:cubicBezTo>
                  <a:pt x="11210241" y="3676305"/>
                  <a:pt x="11236809" y="3649930"/>
                  <a:pt x="11262989" y="3649930"/>
                </a:cubicBezTo>
                <a:close/>
                <a:moveTo>
                  <a:pt x="10013108" y="1"/>
                </a:moveTo>
                <a:lnTo>
                  <a:pt x="11513123" y="1"/>
                </a:lnTo>
                <a:lnTo>
                  <a:pt x="11375667" y="242204"/>
                </a:lnTo>
                <a:cubicBezTo>
                  <a:pt x="10719010" y="1351000"/>
                  <a:pt x="9855550" y="2162743"/>
                  <a:pt x="8901800" y="3065651"/>
                </a:cubicBezTo>
                <a:cubicBezTo>
                  <a:pt x="8888421" y="3079029"/>
                  <a:pt x="8875426" y="3092218"/>
                  <a:pt x="8849051" y="3092218"/>
                </a:cubicBezTo>
                <a:lnTo>
                  <a:pt x="8835862" y="3065844"/>
                </a:lnTo>
                <a:lnTo>
                  <a:pt x="8848858" y="3039466"/>
                </a:lnTo>
                <a:cubicBezTo>
                  <a:pt x="9099043" y="2060013"/>
                  <a:pt x="9398823" y="1036745"/>
                  <a:pt x="9928744" y="136047"/>
                </a:cubicBezTo>
                <a:close/>
                <a:moveTo>
                  <a:pt x="0" y="0"/>
                </a:moveTo>
                <a:lnTo>
                  <a:pt x="8524326" y="0"/>
                </a:lnTo>
                <a:lnTo>
                  <a:pt x="8358239" y="358554"/>
                </a:lnTo>
                <a:cubicBezTo>
                  <a:pt x="8294613" y="506688"/>
                  <a:pt x="8235850" y="654752"/>
                  <a:pt x="8182024" y="801561"/>
                </a:cubicBezTo>
                <a:cubicBezTo>
                  <a:pt x="7620684" y="2306117"/>
                  <a:pt x="7100433" y="4179350"/>
                  <a:pt x="7106740" y="5918991"/>
                </a:cubicBezTo>
                <a:cubicBezTo>
                  <a:pt x="7107697" y="6190809"/>
                  <a:pt x="7121700" y="6506340"/>
                  <a:pt x="7167886" y="6821267"/>
                </a:cubicBezTo>
                <a:lnTo>
                  <a:pt x="7174068" y="6858000"/>
                </a:lnTo>
                <a:lnTo>
                  <a:pt x="0" y="6858000"/>
                </a:lnTo>
                <a:close/>
                <a:moveTo>
                  <a:pt x="12191997" y="0"/>
                </a:moveTo>
                <a:lnTo>
                  <a:pt x="12191999" y="0"/>
                </a:lnTo>
                <a:lnTo>
                  <a:pt x="12191999" y="6391986"/>
                </a:lnTo>
                <a:lnTo>
                  <a:pt x="12147315" y="6604731"/>
                </a:lnTo>
                <a:lnTo>
                  <a:pt x="12101825" y="6858000"/>
                </a:lnTo>
                <a:lnTo>
                  <a:pt x="12101823" y="6858000"/>
                </a:lnTo>
                <a:lnTo>
                  <a:pt x="12147313" y="6604731"/>
                </a:lnTo>
                <a:lnTo>
                  <a:pt x="12191997" y="6391986"/>
                </a:lnTo>
                <a:lnTo>
                  <a:pt x="12191997" y="3161904"/>
                </a:lnTo>
                <a:lnTo>
                  <a:pt x="12181717" y="3148611"/>
                </a:lnTo>
                <a:cubicBezTo>
                  <a:pt x="12044071" y="2990650"/>
                  <a:pt x="11861475" y="2896795"/>
                  <a:pt x="11629187" y="2897654"/>
                </a:cubicBezTo>
                <a:cubicBezTo>
                  <a:pt x="10891243" y="2926706"/>
                  <a:pt x="10366788" y="3653562"/>
                  <a:pt x="10079336" y="4339900"/>
                </a:cubicBezTo>
                <a:cubicBezTo>
                  <a:pt x="9752505" y="5052801"/>
                  <a:pt x="9544370" y="5804698"/>
                  <a:pt x="9428546" y="6569394"/>
                </a:cubicBezTo>
                <a:cubicBezTo>
                  <a:pt x="9417222" y="6628740"/>
                  <a:pt x="9405089" y="6691588"/>
                  <a:pt x="9392062" y="6756138"/>
                </a:cubicBezTo>
                <a:lnTo>
                  <a:pt x="9370421" y="6858000"/>
                </a:lnTo>
                <a:lnTo>
                  <a:pt x="8503891" y="6858000"/>
                </a:lnTo>
                <a:lnTo>
                  <a:pt x="8493864" y="6814873"/>
                </a:lnTo>
                <a:cubicBezTo>
                  <a:pt x="8446871" y="6572882"/>
                  <a:pt x="8432776" y="6315960"/>
                  <a:pt x="8424939" y="5966770"/>
                </a:cubicBezTo>
                <a:cubicBezTo>
                  <a:pt x="8422454" y="5307765"/>
                  <a:pt x="8499096" y="4635571"/>
                  <a:pt x="8628487" y="3975995"/>
                </a:cubicBezTo>
                <a:cubicBezTo>
                  <a:pt x="8641487" y="3910053"/>
                  <a:pt x="8667479" y="3857304"/>
                  <a:pt x="8733417" y="3817358"/>
                </a:cubicBezTo>
                <a:cubicBezTo>
                  <a:pt x="9797232" y="2877969"/>
                  <a:pt x="10861425" y="1951382"/>
                  <a:pt x="11845159" y="656307"/>
                </a:cubicBezTo>
                <a:cubicBezTo>
                  <a:pt x="11914013" y="560505"/>
                  <a:pt x="11978963" y="468629"/>
                  <a:pt x="12039981" y="379343"/>
                </a:cubicBezTo>
                <a:lnTo>
                  <a:pt x="12191997" y="1472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0183B35-E8E5-D8B1-512C-F1D1BCA30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7650" y="604491"/>
            <a:ext cx="1910750" cy="456671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60F4218-2EE0-546D-3F79-E0E719A6FCFB}"/>
              </a:ext>
            </a:extLst>
          </p:cNvPr>
          <p:cNvCxnSpPr>
            <a:cxnSpLocks/>
          </p:cNvCxnSpPr>
          <p:nvPr userDrawn="1"/>
        </p:nvCxnSpPr>
        <p:spPr>
          <a:xfrm>
            <a:off x="0" y="4220935"/>
            <a:ext cx="6249500" cy="0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ubtitle 2">
            <a:extLst>
              <a:ext uri="{FF2B5EF4-FFF2-40B4-BE49-F238E27FC236}">
                <a16:creationId xmlns:a16="http://schemas.microsoft.com/office/drawing/2014/main" id="{F4BAC6E8-70D6-03EB-2CF9-73EF399350E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16" y="4359254"/>
            <a:ext cx="8548255" cy="1300978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PK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BADFC970-AC73-A3EA-1D39-CD87A3E84E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939" y="1963717"/>
            <a:ext cx="8570188" cy="2305087"/>
          </a:xfrm>
          <a:prstGeom prst="rect">
            <a:avLst/>
          </a:prstGeom>
        </p:spPr>
        <p:txBody>
          <a:bodyPr lIns="0" tIns="46800" rIns="0" anchor="b">
            <a:noAutofit/>
          </a:bodyPr>
          <a:lstStyle>
            <a:lvl1pPr algn="l">
              <a:lnSpc>
                <a:spcPct val="60000"/>
              </a:lnSpc>
              <a:defRPr sz="7200">
                <a:solidFill>
                  <a:schemeClr val="bg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5FE48B-DAAC-027F-E8AC-F238A14B8639}"/>
              </a:ext>
            </a:extLst>
          </p:cNvPr>
          <p:cNvCxnSpPr>
            <a:cxnSpLocks/>
          </p:cNvCxnSpPr>
          <p:nvPr userDrawn="1"/>
        </p:nvCxnSpPr>
        <p:spPr>
          <a:xfrm>
            <a:off x="527650" y="4220935"/>
            <a:ext cx="1019210" cy="0"/>
          </a:xfrm>
          <a:prstGeom prst="line">
            <a:avLst/>
          </a:prstGeom>
          <a:ln w="381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4DCE45CC-D9B6-C91F-F8F3-AE5826DDB67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27650" y="756891"/>
            <a:ext cx="1910750" cy="45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9869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25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ivi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6896ABFB-CF65-1CD8-B4BD-A934F23CF541}"/>
              </a:ext>
            </a:extLst>
          </p:cNvPr>
          <p:cNvSpPr/>
          <p:nvPr userDrawn="1"/>
        </p:nvSpPr>
        <p:spPr>
          <a:xfrm>
            <a:off x="1" y="0"/>
            <a:ext cx="12191999" cy="6858001"/>
          </a:xfrm>
          <a:custGeom>
            <a:avLst/>
            <a:gdLst>
              <a:gd name="connsiteX0" fmla="*/ 11262989 w 12191999"/>
              <a:gd name="connsiteY0" fmla="*/ 3649930 h 6858001"/>
              <a:gd name="connsiteX1" fmla="*/ 11289557 w 12191999"/>
              <a:gd name="connsiteY1" fmla="*/ 3742053 h 6858001"/>
              <a:gd name="connsiteX2" fmla="*/ 11058675 w 12191999"/>
              <a:gd name="connsiteY2" fmla="*/ 5456271 h 6858001"/>
              <a:gd name="connsiteX3" fmla="*/ 10801467 w 12191999"/>
              <a:gd name="connsiteY3" fmla="*/ 6740623 h 6858001"/>
              <a:gd name="connsiteX4" fmla="*/ 10783126 w 12191999"/>
              <a:gd name="connsiteY4" fmla="*/ 6858001 h 6858001"/>
              <a:gd name="connsiteX5" fmla="*/ 9920828 w 12191999"/>
              <a:gd name="connsiteY5" fmla="*/ 6858001 h 6858001"/>
              <a:gd name="connsiteX6" fmla="*/ 10023315 w 12191999"/>
              <a:gd name="connsiteY6" fmla="*/ 6372675 h 6858001"/>
              <a:gd name="connsiteX7" fmla="*/ 10137635 w 12191999"/>
              <a:gd name="connsiteY7" fmla="*/ 5854963 h 6858001"/>
              <a:gd name="connsiteX8" fmla="*/ 11170867 w 12191999"/>
              <a:gd name="connsiteY8" fmla="*/ 3716251 h 6858001"/>
              <a:gd name="connsiteX9" fmla="*/ 11262989 w 12191999"/>
              <a:gd name="connsiteY9" fmla="*/ 3649930 h 6858001"/>
              <a:gd name="connsiteX10" fmla="*/ 10013108 w 12191999"/>
              <a:gd name="connsiteY10" fmla="*/ 1 h 6858001"/>
              <a:gd name="connsiteX11" fmla="*/ 11513123 w 12191999"/>
              <a:gd name="connsiteY11" fmla="*/ 1 h 6858001"/>
              <a:gd name="connsiteX12" fmla="*/ 11375667 w 12191999"/>
              <a:gd name="connsiteY12" fmla="*/ 242204 h 6858001"/>
              <a:gd name="connsiteX13" fmla="*/ 8901800 w 12191999"/>
              <a:gd name="connsiteY13" fmla="*/ 3065651 h 6858001"/>
              <a:gd name="connsiteX14" fmla="*/ 8849051 w 12191999"/>
              <a:gd name="connsiteY14" fmla="*/ 3092218 h 6858001"/>
              <a:gd name="connsiteX15" fmla="*/ 8835862 w 12191999"/>
              <a:gd name="connsiteY15" fmla="*/ 3065844 h 6858001"/>
              <a:gd name="connsiteX16" fmla="*/ 8848858 w 12191999"/>
              <a:gd name="connsiteY16" fmla="*/ 3039466 h 6858001"/>
              <a:gd name="connsiteX17" fmla="*/ 9928744 w 12191999"/>
              <a:gd name="connsiteY17" fmla="*/ 136047 h 6858001"/>
              <a:gd name="connsiteX18" fmla="*/ 0 w 12191999"/>
              <a:gd name="connsiteY18" fmla="*/ 0 h 6858001"/>
              <a:gd name="connsiteX19" fmla="*/ 8524326 w 12191999"/>
              <a:gd name="connsiteY19" fmla="*/ 0 h 6858001"/>
              <a:gd name="connsiteX20" fmla="*/ 8358239 w 12191999"/>
              <a:gd name="connsiteY20" fmla="*/ 358554 h 6858001"/>
              <a:gd name="connsiteX21" fmla="*/ 8182024 w 12191999"/>
              <a:gd name="connsiteY21" fmla="*/ 801561 h 6858001"/>
              <a:gd name="connsiteX22" fmla="*/ 7106740 w 12191999"/>
              <a:gd name="connsiteY22" fmla="*/ 5918991 h 6858001"/>
              <a:gd name="connsiteX23" fmla="*/ 7167886 w 12191999"/>
              <a:gd name="connsiteY23" fmla="*/ 6821267 h 6858001"/>
              <a:gd name="connsiteX24" fmla="*/ 7174068 w 12191999"/>
              <a:gd name="connsiteY24" fmla="*/ 6858000 h 6858001"/>
              <a:gd name="connsiteX25" fmla="*/ 0 w 12191999"/>
              <a:gd name="connsiteY25" fmla="*/ 6858000 h 6858001"/>
              <a:gd name="connsiteX26" fmla="*/ 12191997 w 12191999"/>
              <a:gd name="connsiteY26" fmla="*/ 0 h 6858001"/>
              <a:gd name="connsiteX27" fmla="*/ 12191999 w 12191999"/>
              <a:gd name="connsiteY27" fmla="*/ 0 h 6858001"/>
              <a:gd name="connsiteX28" fmla="*/ 12191999 w 12191999"/>
              <a:gd name="connsiteY28" fmla="*/ 6391986 h 6858001"/>
              <a:gd name="connsiteX29" fmla="*/ 12147315 w 12191999"/>
              <a:gd name="connsiteY29" fmla="*/ 6604731 h 6858001"/>
              <a:gd name="connsiteX30" fmla="*/ 12101825 w 12191999"/>
              <a:gd name="connsiteY30" fmla="*/ 6858000 h 6858001"/>
              <a:gd name="connsiteX31" fmla="*/ 12101823 w 12191999"/>
              <a:gd name="connsiteY31" fmla="*/ 6858000 h 6858001"/>
              <a:gd name="connsiteX32" fmla="*/ 12147313 w 12191999"/>
              <a:gd name="connsiteY32" fmla="*/ 6604731 h 6858001"/>
              <a:gd name="connsiteX33" fmla="*/ 12191997 w 12191999"/>
              <a:gd name="connsiteY33" fmla="*/ 6391986 h 6858001"/>
              <a:gd name="connsiteX34" fmla="*/ 12191997 w 12191999"/>
              <a:gd name="connsiteY34" fmla="*/ 3161904 h 6858001"/>
              <a:gd name="connsiteX35" fmla="*/ 12181717 w 12191999"/>
              <a:gd name="connsiteY35" fmla="*/ 3148611 h 6858001"/>
              <a:gd name="connsiteX36" fmla="*/ 11629187 w 12191999"/>
              <a:gd name="connsiteY36" fmla="*/ 2897654 h 6858001"/>
              <a:gd name="connsiteX37" fmla="*/ 10079336 w 12191999"/>
              <a:gd name="connsiteY37" fmla="*/ 4339900 h 6858001"/>
              <a:gd name="connsiteX38" fmla="*/ 9428546 w 12191999"/>
              <a:gd name="connsiteY38" fmla="*/ 6569394 h 6858001"/>
              <a:gd name="connsiteX39" fmla="*/ 9392062 w 12191999"/>
              <a:gd name="connsiteY39" fmla="*/ 6756138 h 6858001"/>
              <a:gd name="connsiteX40" fmla="*/ 9370421 w 12191999"/>
              <a:gd name="connsiteY40" fmla="*/ 6858000 h 6858001"/>
              <a:gd name="connsiteX41" fmla="*/ 8503891 w 12191999"/>
              <a:gd name="connsiteY41" fmla="*/ 6858000 h 6858001"/>
              <a:gd name="connsiteX42" fmla="*/ 8493864 w 12191999"/>
              <a:gd name="connsiteY42" fmla="*/ 6814873 h 6858001"/>
              <a:gd name="connsiteX43" fmla="*/ 8424939 w 12191999"/>
              <a:gd name="connsiteY43" fmla="*/ 5966770 h 6858001"/>
              <a:gd name="connsiteX44" fmla="*/ 8628487 w 12191999"/>
              <a:gd name="connsiteY44" fmla="*/ 3975995 h 6858001"/>
              <a:gd name="connsiteX45" fmla="*/ 8733417 w 12191999"/>
              <a:gd name="connsiteY45" fmla="*/ 3817358 h 6858001"/>
              <a:gd name="connsiteX46" fmla="*/ 11845159 w 12191999"/>
              <a:gd name="connsiteY46" fmla="*/ 656307 h 6858001"/>
              <a:gd name="connsiteX47" fmla="*/ 12039981 w 12191999"/>
              <a:gd name="connsiteY47" fmla="*/ 379343 h 6858001"/>
              <a:gd name="connsiteX48" fmla="*/ 12191997 w 12191999"/>
              <a:gd name="connsiteY48" fmla="*/ 14724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2191999" h="6858001">
                <a:moveTo>
                  <a:pt x="11262989" y="3649930"/>
                </a:moveTo>
                <a:cubicBezTo>
                  <a:pt x="11289175" y="3649930"/>
                  <a:pt x="11289367" y="3689494"/>
                  <a:pt x="11289557" y="3742053"/>
                </a:cubicBezTo>
                <a:cubicBezTo>
                  <a:pt x="11252671" y="4427626"/>
                  <a:pt x="11187877" y="4770509"/>
                  <a:pt x="11058675" y="5456271"/>
                </a:cubicBezTo>
                <a:cubicBezTo>
                  <a:pt x="10974483" y="5865189"/>
                  <a:pt x="10877249" y="6297184"/>
                  <a:pt x="10801467" y="6740623"/>
                </a:cubicBezTo>
                <a:lnTo>
                  <a:pt x="10783126" y="6858001"/>
                </a:lnTo>
                <a:lnTo>
                  <a:pt x="9920828" y="6858001"/>
                </a:lnTo>
                <a:lnTo>
                  <a:pt x="10023315" y="6372675"/>
                </a:lnTo>
                <a:cubicBezTo>
                  <a:pt x="10058939" y="6199565"/>
                  <a:pt x="10095396" y="6026452"/>
                  <a:pt x="10137635" y="5854963"/>
                </a:cubicBezTo>
                <a:cubicBezTo>
                  <a:pt x="10332203" y="5010753"/>
                  <a:pt x="10645650" y="4297852"/>
                  <a:pt x="11170867" y="3716251"/>
                </a:cubicBezTo>
                <a:cubicBezTo>
                  <a:pt x="11210241" y="3676305"/>
                  <a:pt x="11236809" y="3649930"/>
                  <a:pt x="11262989" y="3649930"/>
                </a:cubicBezTo>
                <a:close/>
                <a:moveTo>
                  <a:pt x="10013108" y="1"/>
                </a:moveTo>
                <a:lnTo>
                  <a:pt x="11513123" y="1"/>
                </a:lnTo>
                <a:lnTo>
                  <a:pt x="11375667" y="242204"/>
                </a:lnTo>
                <a:cubicBezTo>
                  <a:pt x="10719010" y="1351000"/>
                  <a:pt x="9855550" y="2162743"/>
                  <a:pt x="8901800" y="3065651"/>
                </a:cubicBezTo>
                <a:cubicBezTo>
                  <a:pt x="8888421" y="3079029"/>
                  <a:pt x="8875426" y="3092218"/>
                  <a:pt x="8849051" y="3092218"/>
                </a:cubicBezTo>
                <a:lnTo>
                  <a:pt x="8835862" y="3065844"/>
                </a:lnTo>
                <a:lnTo>
                  <a:pt x="8848858" y="3039466"/>
                </a:lnTo>
                <a:cubicBezTo>
                  <a:pt x="9099043" y="2060013"/>
                  <a:pt x="9398823" y="1036745"/>
                  <a:pt x="9928744" y="136047"/>
                </a:cubicBezTo>
                <a:close/>
                <a:moveTo>
                  <a:pt x="0" y="0"/>
                </a:moveTo>
                <a:lnTo>
                  <a:pt x="8524326" y="0"/>
                </a:lnTo>
                <a:lnTo>
                  <a:pt x="8358239" y="358554"/>
                </a:lnTo>
                <a:cubicBezTo>
                  <a:pt x="8294613" y="506688"/>
                  <a:pt x="8235850" y="654752"/>
                  <a:pt x="8182024" y="801561"/>
                </a:cubicBezTo>
                <a:cubicBezTo>
                  <a:pt x="7620684" y="2306117"/>
                  <a:pt x="7100433" y="4179350"/>
                  <a:pt x="7106740" y="5918991"/>
                </a:cubicBezTo>
                <a:cubicBezTo>
                  <a:pt x="7107697" y="6190809"/>
                  <a:pt x="7121700" y="6506340"/>
                  <a:pt x="7167886" y="6821267"/>
                </a:cubicBezTo>
                <a:lnTo>
                  <a:pt x="7174068" y="6858000"/>
                </a:lnTo>
                <a:lnTo>
                  <a:pt x="0" y="6858000"/>
                </a:lnTo>
                <a:close/>
                <a:moveTo>
                  <a:pt x="12191997" y="0"/>
                </a:moveTo>
                <a:lnTo>
                  <a:pt x="12191999" y="0"/>
                </a:lnTo>
                <a:lnTo>
                  <a:pt x="12191999" y="6391986"/>
                </a:lnTo>
                <a:lnTo>
                  <a:pt x="12147315" y="6604731"/>
                </a:lnTo>
                <a:lnTo>
                  <a:pt x="12101825" y="6858000"/>
                </a:lnTo>
                <a:lnTo>
                  <a:pt x="12101823" y="6858000"/>
                </a:lnTo>
                <a:lnTo>
                  <a:pt x="12147313" y="6604731"/>
                </a:lnTo>
                <a:lnTo>
                  <a:pt x="12191997" y="6391986"/>
                </a:lnTo>
                <a:lnTo>
                  <a:pt x="12191997" y="3161904"/>
                </a:lnTo>
                <a:lnTo>
                  <a:pt x="12181717" y="3148611"/>
                </a:lnTo>
                <a:cubicBezTo>
                  <a:pt x="12044071" y="2990650"/>
                  <a:pt x="11861475" y="2896795"/>
                  <a:pt x="11629187" y="2897654"/>
                </a:cubicBezTo>
                <a:cubicBezTo>
                  <a:pt x="10891243" y="2926706"/>
                  <a:pt x="10366788" y="3653562"/>
                  <a:pt x="10079336" y="4339900"/>
                </a:cubicBezTo>
                <a:cubicBezTo>
                  <a:pt x="9752505" y="5052801"/>
                  <a:pt x="9544370" y="5804698"/>
                  <a:pt x="9428546" y="6569394"/>
                </a:cubicBezTo>
                <a:cubicBezTo>
                  <a:pt x="9417222" y="6628740"/>
                  <a:pt x="9405089" y="6691588"/>
                  <a:pt x="9392062" y="6756138"/>
                </a:cubicBezTo>
                <a:lnTo>
                  <a:pt x="9370421" y="6858000"/>
                </a:lnTo>
                <a:lnTo>
                  <a:pt x="8503891" y="6858000"/>
                </a:lnTo>
                <a:lnTo>
                  <a:pt x="8493864" y="6814873"/>
                </a:lnTo>
                <a:cubicBezTo>
                  <a:pt x="8446871" y="6572882"/>
                  <a:pt x="8432776" y="6315960"/>
                  <a:pt x="8424939" y="5966770"/>
                </a:cubicBezTo>
                <a:cubicBezTo>
                  <a:pt x="8422454" y="5307765"/>
                  <a:pt x="8499096" y="4635571"/>
                  <a:pt x="8628487" y="3975995"/>
                </a:cubicBezTo>
                <a:cubicBezTo>
                  <a:pt x="8641487" y="3910053"/>
                  <a:pt x="8667479" y="3857304"/>
                  <a:pt x="8733417" y="3817358"/>
                </a:cubicBezTo>
                <a:cubicBezTo>
                  <a:pt x="9797232" y="2877969"/>
                  <a:pt x="10861425" y="1951382"/>
                  <a:pt x="11845159" y="656307"/>
                </a:cubicBezTo>
                <a:cubicBezTo>
                  <a:pt x="11914013" y="560505"/>
                  <a:pt x="11978963" y="468629"/>
                  <a:pt x="12039981" y="379343"/>
                </a:cubicBezTo>
                <a:lnTo>
                  <a:pt x="12191997" y="1472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6E9DEA9B-625B-FF05-FB58-26962F8477B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106684" y="0"/>
            <a:ext cx="5085316" cy="6858000"/>
          </a:xfrm>
          <a:custGeom>
            <a:avLst/>
            <a:gdLst>
              <a:gd name="connsiteX0" fmla="*/ 5085316 w 5085316"/>
              <a:gd name="connsiteY0" fmla="*/ 6391986 h 6858000"/>
              <a:gd name="connsiteX1" fmla="*/ 5085316 w 5085316"/>
              <a:gd name="connsiteY1" fmla="*/ 6858000 h 6858000"/>
              <a:gd name="connsiteX2" fmla="*/ 4995142 w 5085316"/>
              <a:gd name="connsiteY2" fmla="*/ 6858000 h 6858000"/>
              <a:gd name="connsiteX3" fmla="*/ 5040632 w 5085316"/>
              <a:gd name="connsiteY3" fmla="*/ 6604731 h 6858000"/>
              <a:gd name="connsiteX4" fmla="*/ 4522504 w 5085316"/>
              <a:gd name="connsiteY4" fmla="*/ 2897654 h 6858000"/>
              <a:gd name="connsiteX5" fmla="*/ 5075034 w 5085316"/>
              <a:gd name="connsiteY5" fmla="*/ 3148611 h 6858000"/>
              <a:gd name="connsiteX6" fmla="*/ 5085314 w 5085316"/>
              <a:gd name="connsiteY6" fmla="*/ 3161904 h 6858000"/>
              <a:gd name="connsiteX7" fmla="*/ 5085314 w 5085316"/>
              <a:gd name="connsiteY7" fmla="*/ 6391986 h 6858000"/>
              <a:gd name="connsiteX8" fmla="*/ 5040630 w 5085316"/>
              <a:gd name="connsiteY8" fmla="*/ 6604731 h 6858000"/>
              <a:gd name="connsiteX9" fmla="*/ 4995140 w 5085316"/>
              <a:gd name="connsiteY9" fmla="*/ 6858000 h 6858000"/>
              <a:gd name="connsiteX10" fmla="*/ 3676443 w 5085316"/>
              <a:gd name="connsiteY10" fmla="*/ 6858000 h 6858000"/>
              <a:gd name="connsiteX11" fmla="*/ 3694784 w 5085316"/>
              <a:gd name="connsiteY11" fmla="*/ 6740622 h 6858000"/>
              <a:gd name="connsiteX12" fmla="*/ 3951992 w 5085316"/>
              <a:gd name="connsiteY12" fmla="*/ 5456270 h 6858000"/>
              <a:gd name="connsiteX13" fmla="*/ 4182874 w 5085316"/>
              <a:gd name="connsiteY13" fmla="*/ 3742052 h 6858000"/>
              <a:gd name="connsiteX14" fmla="*/ 4156306 w 5085316"/>
              <a:gd name="connsiteY14" fmla="*/ 3649929 h 6858000"/>
              <a:gd name="connsiteX15" fmla="*/ 4064184 w 5085316"/>
              <a:gd name="connsiteY15" fmla="*/ 3716250 h 6858000"/>
              <a:gd name="connsiteX16" fmla="*/ 3030952 w 5085316"/>
              <a:gd name="connsiteY16" fmla="*/ 5854962 h 6858000"/>
              <a:gd name="connsiteX17" fmla="*/ 2916632 w 5085316"/>
              <a:gd name="connsiteY17" fmla="*/ 6372674 h 6858000"/>
              <a:gd name="connsiteX18" fmla="*/ 2814145 w 5085316"/>
              <a:gd name="connsiteY18" fmla="*/ 6858000 h 6858000"/>
              <a:gd name="connsiteX19" fmla="*/ 2263738 w 5085316"/>
              <a:gd name="connsiteY19" fmla="*/ 6858000 h 6858000"/>
              <a:gd name="connsiteX20" fmla="*/ 2285379 w 5085316"/>
              <a:gd name="connsiteY20" fmla="*/ 6756138 h 6858000"/>
              <a:gd name="connsiteX21" fmla="*/ 2321863 w 5085316"/>
              <a:gd name="connsiteY21" fmla="*/ 6569394 h 6858000"/>
              <a:gd name="connsiteX22" fmla="*/ 2972653 w 5085316"/>
              <a:gd name="connsiteY22" fmla="*/ 4339900 h 6858000"/>
              <a:gd name="connsiteX23" fmla="*/ 4522504 w 5085316"/>
              <a:gd name="connsiteY23" fmla="*/ 2897654 h 6858000"/>
              <a:gd name="connsiteX24" fmla="*/ 1417643 w 5085316"/>
              <a:gd name="connsiteY24" fmla="*/ 0 h 6858000"/>
              <a:gd name="connsiteX25" fmla="*/ 2906425 w 5085316"/>
              <a:gd name="connsiteY25" fmla="*/ 0 h 6858000"/>
              <a:gd name="connsiteX26" fmla="*/ 2822061 w 5085316"/>
              <a:gd name="connsiteY26" fmla="*/ 136046 h 6858000"/>
              <a:gd name="connsiteX27" fmla="*/ 1742175 w 5085316"/>
              <a:gd name="connsiteY27" fmla="*/ 3039465 h 6858000"/>
              <a:gd name="connsiteX28" fmla="*/ 1729179 w 5085316"/>
              <a:gd name="connsiteY28" fmla="*/ 3065843 h 6858000"/>
              <a:gd name="connsiteX29" fmla="*/ 1742368 w 5085316"/>
              <a:gd name="connsiteY29" fmla="*/ 3092217 h 6858000"/>
              <a:gd name="connsiteX30" fmla="*/ 1795117 w 5085316"/>
              <a:gd name="connsiteY30" fmla="*/ 3065650 h 6858000"/>
              <a:gd name="connsiteX31" fmla="*/ 4268984 w 5085316"/>
              <a:gd name="connsiteY31" fmla="*/ 242203 h 6858000"/>
              <a:gd name="connsiteX32" fmla="*/ 4406440 w 5085316"/>
              <a:gd name="connsiteY32" fmla="*/ 0 h 6858000"/>
              <a:gd name="connsiteX33" fmla="*/ 5085314 w 5085316"/>
              <a:gd name="connsiteY33" fmla="*/ 0 h 6858000"/>
              <a:gd name="connsiteX34" fmla="*/ 5085314 w 5085316"/>
              <a:gd name="connsiteY34" fmla="*/ 147240 h 6858000"/>
              <a:gd name="connsiteX35" fmla="*/ 4933298 w 5085316"/>
              <a:gd name="connsiteY35" fmla="*/ 379343 h 6858000"/>
              <a:gd name="connsiteX36" fmla="*/ 4738476 w 5085316"/>
              <a:gd name="connsiteY36" fmla="*/ 656307 h 6858000"/>
              <a:gd name="connsiteX37" fmla="*/ 1626734 w 5085316"/>
              <a:gd name="connsiteY37" fmla="*/ 3817358 h 6858000"/>
              <a:gd name="connsiteX38" fmla="*/ 1521804 w 5085316"/>
              <a:gd name="connsiteY38" fmla="*/ 3975995 h 6858000"/>
              <a:gd name="connsiteX39" fmla="*/ 1318256 w 5085316"/>
              <a:gd name="connsiteY39" fmla="*/ 5966770 h 6858000"/>
              <a:gd name="connsiteX40" fmla="*/ 1387181 w 5085316"/>
              <a:gd name="connsiteY40" fmla="*/ 6814873 h 6858000"/>
              <a:gd name="connsiteX41" fmla="*/ 1397208 w 5085316"/>
              <a:gd name="connsiteY41" fmla="*/ 6858000 h 6858000"/>
              <a:gd name="connsiteX42" fmla="*/ 67385 w 5085316"/>
              <a:gd name="connsiteY42" fmla="*/ 6858000 h 6858000"/>
              <a:gd name="connsiteX43" fmla="*/ 61203 w 5085316"/>
              <a:gd name="connsiteY43" fmla="*/ 6821267 h 6858000"/>
              <a:gd name="connsiteX44" fmla="*/ 57 w 5085316"/>
              <a:gd name="connsiteY44" fmla="*/ 5918991 h 6858000"/>
              <a:gd name="connsiteX45" fmla="*/ 1075341 w 5085316"/>
              <a:gd name="connsiteY45" fmla="*/ 801561 h 6858000"/>
              <a:gd name="connsiteX46" fmla="*/ 1251556 w 5085316"/>
              <a:gd name="connsiteY46" fmla="*/ 35855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5085316" h="6858000">
                <a:moveTo>
                  <a:pt x="5085316" y="6391986"/>
                </a:moveTo>
                <a:lnTo>
                  <a:pt x="5085316" y="6858000"/>
                </a:lnTo>
                <a:lnTo>
                  <a:pt x="4995142" y="6858000"/>
                </a:lnTo>
                <a:lnTo>
                  <a:pt x="5040632" y="6604731"/>
                </a:lnTo>
                <a:close/>
                <a:moveTo>
                  <a:pt x="4522504" y="2897654"/>
                </a:moveTo>
                <a:cubicBezTo>
                  <a:pt x="4754792" y="2896795"/>
                  <a:pt x="4937388" y="2990650"/>
                  <a:pt x="5075034" y="3148611"/>
                </a:cubicBezTo>
                <a:lnTo>
                  <a:pt x="5085314" y="3161904"/>
                </a:lnTo>
                <a:lnTo>
                  <a:pt x="5085314" y="6391986"/>
                </a:lnTo>
                <a:lnTo>
                  <a:pt x="5040630" y="6604731"/>
                </a:lnTo>
                <a:lnTo>
                  <a:pt x="4995140" y="6858000"/>
                </a:lnTo>
                <a:lnTo>
                  <a:pt x="3676443" y="6858000"/>
                </a:lnTo>
                <a:lnTo>
                  <a:pt x="3694784" y="6740622"/>
                </a:lnTo>
                <a:cubicBezTo>
                  <a:pt x="3770566" y="6297183"/>
                  <a:pt x="3867800" y="5865188"/>
                  <a:pt x="3951992" y="5456270"/>
                </a:cubicBezTo>
                <a:cubicBezTo>
                  <a:pt x="4081194" y="4770508"/>
                  <a:pt x="4145988" y="4427625"/>
                  <a:pt x="4182874" y="3742052"/>
                </a:cubicBezTo>
                <a:cubicBezTo>
                  <a:pt x="4182684" y="3689493"/>
                  <a:pt x="4182492" y="3649929"/>
                  <a:pt x="4156306" y="3649929"/>
                </a:cubicBezTo>
                <a:cubicBezTo>
                  <a:pt x="4130126" y="3649929"/>
                  <a:pt x="4103558" y="3676304"/>
                  <a:pt x="4064184" y="3716250"/>
                </a:cubicBezTo>
                <a:cubicBezTo>
                  <a:pt x="3538967" y="4297851"/>
                  <a:pt x="3225520" y="5010752"/>
                  <a:pt x="3030952" y="5854962"/>
                </a:cubicBezTo>
                <a:cubicBezTo>
                  <a:pt x="2988713" y="6026451"/>
                  <a:pt x="2952256" y="6199564"/>
                  <a:pt x="2916632" y="6372674"/>
                </a:cubicBezTo>
                <a:lnTo>
                  <a:pt x="2814145" y="6858000"/>
                </a:lnTo>
                <a:lnTo>
                  <a:pt x="2263738" y="6858000"/>
                </a:lnTo>
                <a:lnTo>
                  <a:pt x="2285379" y="6756138"/>
                </a:lnTo>
                <a:cubicBezTo>
                  <a:pt x="2298406" y="6691588"/>
                  <a:pt x="2310539" y="6628740"/>
                  <a:pt x="2321863" y="6569394"/>
                </a:cubicBezTo>
                <a:cubicBezTo>
                  <a:pt x="2437687" y="5804698"/>
                  <a:pt x="2645822" y="5052801"/>
                  <a:pt x="2972653" y="4339900"/>
                </a:cubicBezTo>
                <a:cubicBezTo>
                  <a:pt x="3260105" y="3653562"/>
                  <a:pt x="3784560" y="2926706"/>
                  <a:pt x="4522504" y="2897654"/>
                </a:cubicBezTo>
                <a:close/>
                <a:moveTo>
                  <a:pt x="1417643" y="0"/>
                </a:moveTo>
                <a:lnTo>
                  <a:pt x="2906425" y="0"/>
                </a:lnTo>
                <a:lnTo>
                  <a:pt x="2822061" y="136046"/>
                </a:lnTo>
                <a:cubicBezTo>
                  <a:pt x="2292140" y="1036744"/>
                  <a:pt x="1992360" y="2060012"/>
                  <a:pt x="1742175" y="3039465"/>
                </a:cubicBezTo>
                <a:lnTo>
                  <a:pt x="1729179" y="3065843"/>
                </a:lnTo>
                <a:lnTo>
                  <a:pt x="1742368" y="3092217"/>
                </a:lnTo>
                <a:cubicBezTo>
                  <a:pt x="1768743" y="3092217"/>
                  <a:pt x="1781738" y="3079028"/>
                  <a:pt x="1795117" y="3065650"/>
                </a:cubicBezTo>
                <a:cubicBezTo>
                  <a:pt x="2748867" y="2162742"/>
                  <a:pt x="3612327" y="1350999"/>
                  <a:pt x="4268984" y="242203"/>
                </a:cubicBezTo>
                <a:lnTo>
                  <a:pt x="4406440" y="0"/>
                </a:lnTo>
                <a:lnTo>
                  <a:pt x="5085314" y="0"/>
                </a:lnTo>
                <a:lnTo>
                  <a:pt x="5085314" y="147240"/>
                </a:lnTo>
                <a:lnTo>
                  <a:pt x="4933298" y="379343"/>
                </a:lnTo>
                <a:cubicBezTo>
                  <a:pt x="4872280" y="468629"/>
                  <a:pt x="4807330" y="560505"/>
                  <a:pt x="4738476" y="656307"/>
                </a:cubicBezTo>
                <a:cubicBezTo>
                  <a:pt x="3754742" y="1951382"/>
                  <a:pt x="2690549" y="2877969"/>
                  <a:pt x="1626734" y="3817358"/>
                </a:cubicBezTo>
                <a:cubicBezTo>
                  <a:pt x="1560796" y="3857304"/>
                  <a:pt x="1534804" y="3910053"/>
                  <a:pt x="1521804" y="3975995"/>
                </a:cubicBezTo>
                <a:cubicBezTo>
                  <a:pt x="1392413" y="4635571"/>
                  <a:pt x="1315771" y="5307765"/>
                  <a:pt x="1318256" y="5966770"/>
                </a:cubicBezTo>
                <a:cubicBezTo>
                  <a:pt x="1326093" y="6315960"/>
                  <a:pt x="1340188" y="6572882"/>
                  <a:pt x="1387181" y="6814873"/>
                </a:cubicBezTo>
                <a:lnTo>
                  <a:pt x="1397208" y="6858000"/>
                </a:lnTo>
                <a:lnTo>
                  <a:pt x="67385" y="6858000"/>
                </a:lnTo>
                <a:lnTo>
                  <a:pt x="61203" y="6821267"/>
                </a:lnTo>
                <a:cubicBezTo>
                  <a:pt x="15017" y="6506340"/>
                  <a:pt x="1014" y="6190809"/>
                  <a:pt x="57" y="5918991"/>
                </a:cubicBezTo>
                <a:cubicBezTo>
                  <a:pt x="-6250" y="4179350"/>
                  <a:pt x="514001" y="2306117"/>
                  <a:pt x="1075341" y="801561"/>
                </a:cubicBezTo>
                <a:cubicBezTo>
                  <a:pt x="1129167" y="654752"/>
                  <a:pt x="1187930" y="506688"/>
                  <a:pt x="1251556" y="358554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0183B35-E8E5-D8B1-512C-F1D1BCA30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7650" y="604491"/>
            <a:ext cx="1910750" cy="456671"/>
          </a:xfrm>
          <a:prstGeom prst="rect">
            <a:avLst/>
          </a:prstGeom>
        </p:spPr>
      </p:pic>
      <p:sp>
        <p:nvSpPr>
          <p:cNvPr id="13" name="Subtitle 2">
            <a:extLst>
              <a:ext uri="{FF2B5EF4-FFF2-40B4-BE49-F238E27FC236}">
                <a16:creationId xmlns:a16="http://schemas.microsoft.com/office/drawing/2014/main" id="{F4BAC6E8-70D6-03EB-2CF9-73EF399350E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17" y="4359254"/>
            <a:ext cx="8548255" cy="1300978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PK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BADFC970-AC73-A3EA-1D39-CD87A3E84E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939" y="1963717"/>
            <a:ext cx="8570188" cy="2305087"/>
          </a:xfrm>
          <a:prstGeom prst="rect">
            <a:avLst/>
          </a:prstGeom>
        </p:spPr>
        <p:txBody>
          <a:bodyPr lIns="0" tIns="46800" rIns="0" anchor="b">
            <a:noAutofit/>
          </a:bodyPr>
          <a:lstStyle>
            <a:lvl1pPr algn="l">
              <a:lnSpc>
                <a:spcPct val="60000"/>
              </a:lnSpc>
              <a:defRPr sz="7200">
                <a:solidFill>
                  <a:schemeClr val="bg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2403146575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BF429B15-5519-2C6F-8527-46195F599056}"/>
              </a:ext>
            </a:extLst>
          </p:cNvPr>
          <p:cNvSpPr/>
          <p:nvPr userDrawn="1"/>
        </p:nvSpPr>
        <p:spPr>
          <a:xfrm>
            <a:off x="0" y="0"/>
            <a:ext cx="6092561" cy="6858000"/>
          </a:xfrm>
          <a:prstGeom prst="rect">
            <a:avLst/>
          </a:prstGeom>
          <a:gradFill>
            <a:gsLst>
              <a:gs pos="0">
                <a:srgbClr val="1C4C94">
                  <a:alpha val="70000"/>
                </a:srgbClr>
              </a:gs>
              <a:gs pos="99000">
                <a:srgbClr val="0379A8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692138C-F37F-2F37-65DB-69914887707D}"/>
              </a:ext>
            </a:extLst>
          </p:cNvPr>
          <p:cNvSpPr/>
          <p:nvPr userDrawn="1"/>
        </p:nvSpPr>
        <p:spPr>
          <a:xfrm>
            <a:off x="0" y="0"/>
            <a:ext cx="6099442" cy="6858000"/>
          </a:xfrm>
          <a:prstGeom prst="rect">
            <a:avLst/>
          </a:prstGeom>
          <a:gradFill>
            <a:gsLst>
              <a:gs pos="1000">
                <a:srgbClr val="1D6095"/>
              </a:gs>
              <a:gs pos="99000">
                <a:srgbClr val="0178A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8E6C4B41-FEE4-42EF-A4CC-5B1AE1E762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577045" y="1165758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l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A6FACAB6-E88A-4795-0E3C-514F7C66F79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77045" y="2837142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42" name="Text Placeholder 17">
            <a:extLst>
              <a:ext uri="{FF2B5EF4-FFF2-40B4-BE49-F238E27FC236}">
                <a16:creationId xmlns:a16="http://schemas.microsoft.com/office/drawing/2014/main" id="{0B0C0BEB-8A1B-E15D-157E-0CCEE4D2003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77045" y="4508526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570727D9-B007-1628-E384-0F12A1A124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53529" y="421909"/>
            <a:ext cx="1209635" cy="28910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8EA7766-11D0-FB4F-3D4D-55C0A5320C37}"/>
              </a:ext>
            </a:extLst>
          </p:cNvPr>
          <p:cNvCxnSpPr>
            <a:cxnSpLocks/>
          </p:cNvCxnSpPr>
          <p:nvPr userDrawn="1"/>
        </p:nvCxnSpPr>
        <p:spPr>
          <a:xfrm>
            <a:off x="7091397" y="934654"/>
            <a:ext cx="0" cy="5163773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80EBD3A1-38D1-9A23-195C-0A5F57D17AE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77045" y="2001450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E4E24B4A-0856-85DE-C580-CD81393B163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77045" y="3672834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C57F6E4D-88BC-6C59-16E3-1336C1BDBFD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577045" y="5344219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8F2D4774-7A19-26FE-BAFE-61D47E15EE48}"/>
              </a:ext>
            </a:extLst>
          </p:cNvPr>
          <p:cNvSpPr>
            <a:spLocks noGrp="1" noChangeAspect="1"/>
          </p:cNvSpPr>
          <p:nvPr>
            <p:ph type="body" sz="quarter" idx="45" hasCustomPrompt="1"/>
          </p:nvPr>
        </p:nvSpPr>
        <p:spPr>
          <a:xfrm>
            <a:off x="6821780" y="1165758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66F826E9-C23B-16A3-0473-812F0CA37F89}"/>
              </a:ext>
            </a:extLst>
          </p:cNvPr>
          <p:cNvSpPr>
            <a:spLocks noGrp="1" noChangeAspect="1"/>
          </p:cNvSpPr>
          <p:nvPr>
            <p:ph type="body" sz="quarter" idx="46" hasCustomPrompt="1"/>
          </p:nvPr>
        </p:nvSpPr>
        <p:spPr>
          <a:xfrm>
            <a:off x="6821780" y="2001450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3D62A798-8AD2-3E28-1217-DBCFF358AAAC}"/>
              </a:ext>
            </a:extLst>
          </p:cNvPr>
          <p:cNvSpPr>
            <a:spLocks noGrp="1" noChangeAspect="1"/>
          </p:cNvSpPr>
          <p:nvPr>
            <p:ph type="body" sz="quarter" idx="47" hasCustomPrompt="1"/>
          </p:nvPr>
        </p:nvSpPr>
        <p:spPr>
          <a:xfrm>
            <a:off x="6821780" y="2837142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0C8DB805-D6AA-DC93-16E5-14A7CE0A20E4}"/>
              </a:ext>
            </a:extLst>
          </p:cNvPr>
          <p:cNvSpPr>
            <a:spLocks noGrp="1" noChangeAspect="1"/>
          </p:cNvSpPr>
          <p:nvPr>
            <p:ph type="body" sz="quarter" idx="48" hasCustomPrompt="1"/>
          </p:nvPr>
        </p:nvSpPr>
        <p:spPr>
          <a:xfrm>
            <a:off x="6821780" y="3672834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733E2632-6408-C1B1-0197-81EC8778BC93}"/>
              </a:ext>
            </a:extLst>
          </p:cNvPr>
          <p:cNvSpPr>
            <a:spLocks noGrp="1" noChangeAspect="1"/>
          </p:cNvSpPr>
          <p:nvPr>
            <p:ph type="body" sz="quarter" idx="49" hasCustomPrompt="1"/>
          </p:nvPr>
        </p:nvSpPr>
        <p:spPr>
          <a:xfrm>
            <a:off x="6821780" y="4508526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F2A22727-D956-DE93-AEE0-A5BD5D55394D}"/>
              </a:ext>
            </a:extLst>
          </p:cNvPr>
          <p:cNvSpPr>
            <a:spLocks noGrp="1" noChangeAspect="1"/>
          </p:cNvSpPr>
          <p:nvPr>
            <p:ph type="body" sz="quarter" idx="50" hasCustomPrompt="1"/>
          </p:nvPr>
        </p:nvSpPr>
        <p:spPr>
          <a:xfrm>
            <a:off x="6821780" y="5344219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A589B61-EDFA-D2C7-543D-BDBBB984E9D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0"/>
            <a:ext cx="6099442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C7946B9-62ED-E1C9-D784-738B6CE36A06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0">
                <a:srgbClr val="1C4C94">
                  <a:alpha val="92000"/>
                </a:srgbClr>
              </a:gs>
              <a:gs pos="99000">
                <a:srgbClr val="0379A8">
                  <a:alpha val="75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8AF2802-7DC0-FA3E-81B5-F3CDD924310F}"/>
              </a:ext>
            </a:extLst>
          </p:cNvPr>
          <p:cNvCxnSpPr>
            <a:cxnSpLocks/>
          </p:cNvCxnSpPr>
          <p:nvPr userDrawn="1"/>
        </p:nvCxnSpPr>
        <p:spPr>
          <a:xfrm>
            <a:off x="696693" y="0"/>
            <a:ext cx="0" cy="4849871"/>
          </a:xfrm>
          <a:prstGeom prst="line">
            <a:avLst/>
          </a:prstGeom>
          <a:noFill/>
          <a:ln w="38100" cap="rnd">
            <a:solidFill>
              <a:srgbClr val="F96E46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7" name="Title 1">
            <a:extLst>
              <a:ext uri="{FF2B5EF4-FFF2-40B4-BE49-F238E27FC236}">
                <a16:creationId xmlns:a16="http://schemas.microsoft.com/office/drawing/2014/main" id="{B407A0B8-DA82-9A0D-B74F-959D736A3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3609" y="1782501"/>
            <a:ext cx="3630907" cy="1347842"/>
          </a:xfrm>
          <a:prstGeom prst="rect">
            <a:avLst/>
          </a:prstGeom>
        </p:spPr>
        <p:txBody>
          <a:bodyPr anchor="b"/>
          <a:lstStyle>
            <a:lvl1pPr algn="ctr">
              <a:lnSpc>
                <a:spcPct val="6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364119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pos="429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5963F76-9109-6F65-6235-1DE7A2E012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177A3"/>
              </a:gs>
              <a:gs pos="100000">
                <a:srgbClr val="1C609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0E0D1636-63D9-AE84-54BF-7E9D45D07715}"/>
              </a:ext>
            </a:extLst>
          </p:cNvPr>
          <p:cNvSpPr/>
          <p:nvPr userDrawn="1"/>
        </p:nvSpPr>
        <p:spPr>
          <a:xfrm>
            <a:off x="7106685" y="0"/>
            <a:ext cx="5085315" cy="6858000"/>
          </a:xfrm>
          <a:custGeom>
            <a:avLst/>
            <a:gdLst>
              <a:gd name="connsiteX0" fmla="*/ 5085315 w 5085315"/>
              <a:gd name="connsiteY0" fmla="*/ 6391986 h 6858000"/>
              <a:gd name="connsiteX1" fmla="*/ 5085315 w 5085315"/>
              <a:gd name="connsiteY1" fmla="*/ 6858000 h 6858000"/>
              <a:gd name="connsiteX2" fmla="*/ 4995141 w 5085315"/>
              <a:gd name="connsiteY2" fmla="*/ 6858000 h 6858000"/>
              <a:gd name="connsiteX3" fmla="*/ 5040631 w 5085315"/>
              <a:gd name="connsiteY3" fmla="*/ 6604731 h 6858000"/>
              <a:gd name="connsiteX4" fmla="*/ 4522503 w 5085315"/>
              <a:gd name="connsiteY4" fmla="*/ 2897654 h 6858000"/>
              <a:gd name="connsiteX5" fmla="*/ 5075033 w 5085315"/>
              <a:gd name="connsiteY5" fmla="*/ 3148611 h 6858000"/>
              <a:gd name="connsiteX6" fmla="*/ 5085313 w 5085315"/>
              <a:gd name="connsiteY6" fmla="*/ 3161904 h 6858000"/>
              <a:gd name="connsiteX7" fmla="*/ 5085313 w 5085315"/>
              <a:gd name="connsiteY7" fmla="*/ 6391986 h 6858000"/>
              <a:gd name="connsiteX8" fmla="*/ 5040629 w 5085315"/>
              <a:gd name="connsiteY8" fmla="*/ 6604731 h 6858000"/>
              <a:gd name="connsiteX9" fmla="*/ 4995139 w 5085315"/>
              <a:gd name="connsiteY9" fmla="*/ 6858000 h 6858000"/>
              <a:gd name="connsiteX10" fmla="*/ 3676442 w 5085315"/>
              <a:gd name="connsiteY10" fmla="*/ 6858000 h 6858000"/>
              <a:gd name="connsiteX11" fmla="*/ 3694783 w 5085315"/>
              <a:gd name="connsiteY11" fmla="*/ 6740622 h 6858000"/>
              <a:gd name="connsiteX12" fmla="*/ 3951991 w 5085315"/>
              <a:gd name="connsiteY12" fmla="*/ 5456270 h 6858000"/>
              <a:gd name="connsiteX13" fmla="*/ 4182873 w 5085315"/>
              <a:gd name="connsiteY13" fmla="*/ 3742052 h 6858000"/>
              <a:gd name="connsiteX14" fmla="*/ 4156305 w 5085315"/>
              <a:gd name="connsiteY14" fmla="*/ 3649929 h 6858000"/>
              <a:gd name="connsiteX15" fmla="*/ 4064183 w 5085315"/>
              <a:gd name="connsiteY15" fmla="*/ 3716250 h 6858000"/>
              <a:gd name="connsiteX16" fmla="*/ 3030951 w 5085315"/>
              <a:gd name="connsiteY16" fmla="*/ 5854962 h 6858000"/>
              <a:gd name="connsiteX17" fmla="*/ 2916631 w 5085315"/>
              <a:gd name="connsiteY17" fmla="*/ 6372674 h 6858000"/>
              <a:gd name="connsiteX18" fmla="*/ 2814144 w 5085315"/>
              <a:gd name="connsiteY18" fmla="*/ 6858000 h 6858000"/>
              <a:gd name="connsiteX19" fmla="*/ 2263737 w 5085315"/>
              <a:gd name="connsiteY19" fmla="*/ 6858000 h 6858000"/>
              <a:gd name="connsiteX20" fmla="*/ 2285378 w 5085315"/>
              <a:gd name="connsiteY20" fmla="*/ 6756138 h 6858000"/>
              <a:gd name="connsiteX21" fmla="*/ 2321862 w 5085315"/>
              <a:gd name="connsiteY21" fmla="*/ 6569394 h 6858000"/>
              <a:gd name="connsiteX22" fmla="*/ 2972652 w 5085315"/>
              <a:gd name="connsiteY22" fmla="*/ 4339900 h 6858000"/>
              <a:gd name="connsiteX23" fmla="*/ 4522503 w 5085315"/>
              <a:gd name="connsiteY23" fmla="*/ 2897654 h 6858000"/>
              <a:gd name="connsiteX24" fmla="*/ 1417642 w 5085315"/>
              <a:gd name="connsiteY24" fmla="*/ 0 h 6858000"/>
              <a:gd name="connsiteX25" fmla="*/ 2906424 w 5085315"/>
              <a:gd name="connsiteY25" fmla="*/ 0 h 6858000"/>
              <a:gd name="connsiteX26" fmla="*/ 2822060 w 5085315"/>
              <a:gd name="connsiteY26" fmla="*/ 136046 h 6858000"/>
              <a:gd name="connsiteX27" fmla="*/ 1742174 w 5085315"/>
              <a:gd name="connsiteY27" fmla="*/ 3039465 h 6858000"/>
              <a:gd name="connsiteX28" fmla="*/ 1729178 w 5085315"/>
              <a:gd name="connsiteY28" fmla="*/ 3065843 h 6858000"/>
              <a:gd name="connsiteX29" fmla="*/ 1742367 w 5085315"/>
              <a:gd name="connsiteY29" fmla="*/ 3092217 h 6858000"/>
              <a:gd name="connsiteX30" fmla="*/ 1795116 w 5085315"/>
              <a:gd name="connsiteY30" fmla="*/ 3065650 h 6858000"/>
              <a:gd name="connsiteX31" fmla="*/ 4268983 w 5085315"/>
              <a:gd name="connsiteY31" fmla="*/ 242203 h 6858000"/>
              <a:gd name="connsiteX32" fmla="*/ 4406439 w 5085315"/>
              <a:gd name="connsiteY32" fmla="*/ 0 h 6858000"/>
              <a:gd name="connsiteX33" fmla="*/ 5085313 w 5085315"/>
              <a:gd name="connsiteY33" fmla="*/ 0 h 6858000"/>
              <a:gd name="connsiteX34" fmla="*/ 5085313 w 5085315"/>
              <a:gd name="connsiteY34" fmla="*/ 147240 h 6858000"/>
              <a:gd name="connsiteX35" fmla="*/ 4933297 w 5085315"/>
              <a:gd name="connsiteY35" fmla="*/ 379343 h 6858000"/>
              <a:gd name="connsiteX36" fmla="*/ 4738475 w 5085315"/>
              <a:gd name="connsiteY36" fmla="*/ 656307 h 6858000"/>
              <a:gd name="connsiteX37" fmla="*/ 1626733 w 5085315"/>
              <a:gd name="connsiteY37" fmla="*/ 3817358 h 6858000"/>
              <a:gd name="connsiteX38" fmla="*/ 1521803 w 5085315"/>
              <a:gd name="connsiteY38" fmla="*/ 3975995 h 6858000"/>
              <a:gd name="connsiteX39" fmla="*/ 1318255 w 5085315"/>
              <a:gd name="connsiteY39" fmla="*/ 5966770 h 6858000"/>
              <a:gd name="connsiteX40" fmla="*/ 1387180 w 5085315"/>
              <a:gd name="connsiteY40" fmla="*/ 6814873 h 6858000"/>
              <a:gd name="connsiteX41" fmla="*/ 1397207 w 5085315"/>
              <a:gd name="connsiteY41" fmla="*/ 6858000 h 6858000"/>
              <a:gd name="connsiteX42" fmla="*/ 67384 w 5085315"/>
              <a:gd name="connsiteY42" fmla="*/ 6858000 h 6858000"/>
              <a:gd name="connsiteX43" fmla="*/ 61202 w 5085315"/>
              <a:gd name="connsiteY43" fmla="*/ 6821267 h 6858000"/>
              <a:gd name="connsiteX44" fmla="*/ 56 w 5085315"/>
              <a:gd name="connsiteY44" fmla="*/ 5918991 h 6858000"/>
              <a:gd name="connsiteX45" fmla="*/ 1075340 w 5085315"/>
              <a:gd name="connsiteY45" fmla="*/ 801561 h 6858000"/>
              <a:gd name="connsiteX46" fmla="*/ 1251555 w 5085315"/>
              <a:gd name="connsiteY46" fmla="*/ 35855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5085315" h="6858000">
                <a:moveTo>
                  <a:pt x="5085315" y="6391986"/>
                </a:moveTo>
                <a:lnTo>
                  <a:pt x="5085315" y="6858000"/>
                </a:lnTo>
                <a:lnTo>
                  <a:pt x="4995141" y="6858000"/>
                </a:lnTo>
                <a:lnTo>
                  <a:pt x="5040631" y="6604731"/>
                </a:lnTo>
                <a:close/>
                <a:moveTo>
                  <a:pt x="4522503" y="2897654"/>
                </a:moveTo>
                <a:cubicBezTo>
                  <a:pt x="4754791" y="2896795"/>
                  <a:pt x="4937387" y="2990650"/>
                  <a:pt x="5075033" y="3148611"/>
                </a:cubicBezTo>
                <a:lnTo>
                  <a:pt x="5085313" y="3161904"/>
                </a:lnTo>
                <a:lnTo>
                  <a:pt x="5085313" y="6391986"/>
                </a:lnTo>
                <a:lnTo>
                  <a:pt x="5040629" y="6604731"/>
                </a:lnTo>
                <a:lnTo>
                  <a:pt x="4995139" y="6858000"/>
                </a:lnTo>
                <a:lnTo>
                  <a:pt x="3676442" y="6858000"/>
                </a:lnTo>
                <a:lnTo>
                  <a:pt x="3694783" y="6740622"/>
                </a:lnTo>
                <a:cubicBezTo>
                  <a:pt x="3770565" y="6297183"/>
                  <a:pt x="3867799" y="5865188"/>
                  <a:pt x="3951991" y="5456270"/>
                </a:cubicBezTo>
                <a:cubicBezTo>
                  <a:pt x="4081193" y="4770508"/>
                  <a:pt x="4145987" y="4427625"/>
                  <a:pt x="4182873" y="3742052"/>
                </a:cubicBezTo>
                <a:cubicBezTo>
                  <a:pt x="4182683" y="3689493"/>
                  <a:pt x="4182491" y="3649929"/>
                  <a:pt x="4156305" y="3649929"/>
                </a:cubicBezTo>
                <a:cubicBezTo>
                  <a:pt x="4130125" y="3649929"/>
                  <a:pt x="4103557" y="3676304"/>
                  <a:pt x="4064183" y="3716250"/>
                </a:cubicBezTo>
                <a:cubicBezTo>
                  <a:pt x="3538966" y="4297851"/>
                  <a:pt x="3225519" y="5010752"/>
                  <a:pt x="3030951" y="5854962"/>
                </a:cubicBezTo>
                <a:cubicBezTo>
                  <a:pt x="2988712" y="6026451"/>
                  <a:pt x="2952255" y="6199564"/>
                  <a:pt x="2916631" y="6372674"/>
                </a:cubicBezTo>
                <a:lnTo>
                  <a:pt x="2814144" y="6858000"/>
                </a:lnTo>
                <a:lnTo>
                  <a:pt x="2263737" y="6858000"/>
                </a:lnTo>
                <a:lnTo>
                  <a:pt x="2285378" y="6756138"/>
                </a:lnTo>
                <a:cubicBezTo>
                  <a:pt x="2298405" y="6691588"/>
                  <a:pt x="2310538" y="6628740"/>
                  <a:pt x="2321862" y="6569394"/>
                </a:cubicBezTo>
                <a:cubicBezTo>
                  <a:pt x="2437686" y="5804698"/>
                  <a:pt x="2645821" y="5052801"/>
                  <a:pt x="2972652" y="4339900"/>
                </a:cubicBezTo>
                <a:cubicBezTo>
                  <a:pt x="3260104" y="3653562"/>
                  <a:pt x="3784559" y="2926706"/>
                  <a:pt x="4522503" y="2897654"/>
                </a:cubicBezTo>
                <a:close/>
                <a:moveTo>
                  <a:pt x="1417642" y="0"/>
                </a:moveTo>
                <a:lnTo>
                  <a:pt x="2906424" y="0"/>
                </a:lnTo>
                <a:lnTo>
                  <a:pt x="2822060" y="136046"/>
                </a:lnTo>
                <a:cubicBezTo>
                  <a:pt x="2292139" y="1036744"/>
                  <a:pt x="1992359" y="2060012"/>
                  <a:pt x="1742174" y="3039465"/>
                </a:cubicBezTo>
                <a:lnTo>
                  <a:pt x="1729178" y="3065843"/>
                </a:lnTo>
                <a:lnTo>
                  <a:pt x="1742367" y="3092217"/>
                </a:lnTo>
                <a:cubicBezTo>
                  <a:pt x="1768742" y="3092217"/>
                  <a:pt x="1781737" y="3079028"/>
                  <a:pt x="1795116" y="3065650"/>
                </a:cubicBezTo>
                <a:cubicBezTo>
                  <a:pt x="2748866" y="2162742"/>
                  <a:pt x="3612326" y="1350999"/>
                  <a:pt x="4268983" y="242203"/>
                </a:cubicBezTo>
                <a:lnTo>
                  <a:pt x="4406439" y="0"/>
                </a:lnTo>
                <a:lnTo>
                  <a:pt x="5085313" y="0"/>
                </a:lnTo>
                <a:lnTo>
                  <a:pt x="5085313" y="147240"/>
                </a:lnTo>
                <a:lnTo>
                  <a:pt x="4933297" y="379343"/>
                </a:lnTo>
                <a:cubicBezTo>
                  <a:pt x="4872279" y="468629"/>
                  <a:pt x="4807329" y="560505"/>
                  <a:pt x="4738475" y="656307"/>
                </a:cubicBezTo>
                <a:cubicBezTo>
                  <a:pt x="3754741" y="1951382"/>
                  <a:pt x="2690548" y="2877969"/>
                  <a:pt x="1626733" y="3817358"/>
                </a:cubicBezTo>
                <a:cubicBezTo>
                  <a:pt x="1560795" y="3857304"/>
                  <a:pt x="1534803" y="3910053"/>
                  <a:pt x="1521803" y="3975995"/>
                </a:cubicBezTo>
                <a:cubicBezTo>
                  <a:pt x="1392412" y="4635571"/>
                  <a:pt x="1315770" y="5307765"/>
                  <a:pt x="1318255" y="5966770"/>
                </a:cubicBezTo>
                <a:cubicBezTo>
                  <a:pt x="1326092" y="6315960"/>
                  <a:pt x="1340187" y="6572882"/>
                  <a:pt x="1387180" y="6814873"/>
                </a:cubicBezTo>
                <a:lnTo>
                  <a:pt x="1397207" y="6858000"/>
                </a:lnTo>
                <a:lnTo>
                  <a:pt x="67384" y="6858000"/>
                </a:lnTo>
                <a:lnTo>
                  <a:pt x="61202" y="6821267"/>
                </a:lnTo>
                <a:cubicBezTo>
                  <a:pt x="15016" y="6506340"/>
                  <a:pt x="1013" y="6190809"/>
                  <a:pt x="56" y="5918991"/>
                </a:cubicBezTo>
                <a:cubicBezTo>
                  <a:pt x="-6251" y="4179350"/>
                  <a:pt x="514000" y="2306117"/>
                  <a:pt x="1075340" y="801561"/>
                </a:cubicBezTo>
                <a:cubicBezTo>
                  <a:pt x="1129166" y="654752"/>
                  <a:pt x="1187929" y="506688"/>
                  <a:pt x="1251555" y="358554"/>
                </a:cubicBezTo>
                <a:close/>
              </a:path>
            </a:pathLst>
          </a:custGeom>
          <a:solidFill>
            <a:srgbClr val="58A0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DE5F25C-DB68-C2FE-197B-63ADE36EC90E}"/>
              </a:ext>
            </a:extLst>
          </p:cNvPr>
          <p:cNvCxnSpPr>
            <a:cxnSpLocks/>
          </p:cNvCxnSpPr>
          <p:nvPr userDrawn="1"/>
        </p:nvCxnSpPr>
        <p:spPr>
          <a:xfrm>
            <a:off x="0" y="4085203"/>
            <a:ext cx="7000240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B335E10-390F-7CA7-891C-E957E5860526}"/>
              </a:ext>
            </a:extLst>
          </p:cNvPr>
          <p:cNvCxnSpPr>
            <a:cxnSpLocks/>
          </p:cNvCxnSpPr>
          <p:nvPr userDrawn="1"/>
        </p:nvCxnSpPr>
        <p:spPr>
          <a:xfrm>
            <a:off x="527650" y="4085203"/>
            <a:ext cx="1019210" cy="0"/>
          </a:xfrm>
          <a:prstGeom prst="line">
            <a:avLst/>
          </a:prstGeom>
          <a:ln w="381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B0183B35-E8E5-D8B1-512C-F1D1BCA30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7650" y="604491"/>
            <a:ext cx="1910750" cy="456671"/>
          </a:xfrm>
          <a:prstGeom prst="rect">
            <a:avLst/>
          </a:prstGeom>
        </p:spPr>
      </p:pic>
      <p:sp>
        <p:nvSpPr>
          <p:cNvPr id="18" name="Subtitle 2">
            <a:extLst>
              <a:ext uri="{FF2B5EF4-FFF2-40B4-BE49-F238E27FC236}">
                <a16:creationId xmlns:a16="http://schemas.microsoft.com/office/drawing/2014/main" id="{1887BD83-EA65-BC96-110C-A4982ED040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330" y="4223522"/>
            <a:ext cx="8556842" cy="1300978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PK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0B388D60-E8E6-C03C-7C74-F951BA7D47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7330" y="3075057"/>
            <a:ext cx="8556842" cy="1115890"/>
          </a:xfrm>
          <a:prstGeom prst="rect">
            <a:avLst/>
          </a:prstGeom>
        </p:spPr>
        <p:txBody>
          <a:bodyPr lIns="0" tIns="46800" rIns="0" anchor="t">
            <a:noAutofit/>
          </a:bodyPr>
          <a:lstStyle>
            <a:lvl1pPr algn="l">
              <a:lnSpc>
                <a:spcPct val="100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2351126516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E77DDA1B-74C7-53FC-DB6A-6B4642A991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4010" y="6563561"/>
            <a:ext cx="943356" cy="225463"/>
          </a:xfrm>
          <a:prstGeom prst="rect">
            <a:avLst/>
          </a:prstGeom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74E8A60-FE53-3C52-C496-41844D6E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423599"/>
            <a:ext cx="10801351" cy="612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50000"/>
              </a:lnSpc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1F8E5AF-BB68-A390-BD1F-CDC33905502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95325" y="1159668"/>
            <a:ext cx="10801351" cy="5060149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F578AD08-D63F-B38B-1EEA-666BD88C0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86444" y="6566882"/>
            <a:ext cx="226822" cy="224155"/>
          </a:xfrm>
          <a:prstGeom prst="ellipse">
            <a:avLst/>
          </a:prstGeom>
          <a:ln w="19050">
            <a:solidFill>
              <a:schemeClr val="accent5"/>
            </a:solidFill>
          </a:ln>
        </p:spPr>
        <p:txBody>
          <a:bodyPr lIns="0" tIns="0" rIns="0" bIns="0" anchor="ctr"/>
          <a:lstStyle>
            <a:lvl1pPr algn="ctr">
              <a:defRPr sz="1200" b="0">
                <a:solidFill>
                  <a:schemeClr val="bg1"/>
                </a:solidFill>
                <a:latin typeface="+mj-lt"/>
              </a:defRPr>
            </a:lvl1pPr>
          </a:lstStyle>
          <a:p>
            <a:fld id="{809F87CD-0A17-480A-BA0C-CEA734C9A0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86C29C4-CA0E-6BE8-2041-F7271E4580A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816762" y="6556850"/>
            <a:ext cx="3600000" cy="252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NL"/>
              <a:t>Name of your deck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31EBE2DE-0E6C-94A2-FE40-57B5777BF7A4}"/>
              </a:ext>
            </a:extLst>
          </p:cNvPr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1723064" y="6584400"/>
            <a:ext cx="18000" cy="180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NL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04822519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731">
          <p15:clr>
            <a:srgbClr val="FBAE40"/>
          </p15:clr>
        </p15:guide>
        <p15:guide id="2" pos="438">
          <p15:clr>
            <a:srgbClr val="FBAE40"/>
          </p15:clr>
        </p15:guide>
        <p15:guide id="3" pos="7242">
          <p15:clr>
            <a:srgbClr val="FBAE40"/>
          </p15:clr>
        </p15:guide>
        <p15:guide id="4" orient="horz" pos="3929">
          <p15:clr>
            <a:srgbClr val="FBAE40"/>
          </p15:clr>
        </p15:guide>
        <p15:guide id="5" orient="horz" pos="346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BF429B15-5519-2C6F-8527-46195F599056}"/>
              </a:ext>
            </a:extLst>
          </p:cNvPr>
          <p:cNvSpPr/>
          <p:nvPr userDrawn="1"/>
        </p:nvSpPr>
        <p:spPr>
          <a:xfrm>
            <a:off x="6093600" y="0"/>
            <a:ext cx="6098400" cy="6858000"/>
          </a:xfrm>
          <a:prstGeom prst="rect">
            <a:avLst/>
          </a:prstGeom>
          <a:gradFill>
            <a:gsLst>
              <a:gs pos="0">
                <a:schemeClr val="accent2">
                  <a:alpha val="70000"/>
                </a:schemeClr>
              </a:gs>
              <a:gs pos="99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D4C1FD7-76B6-5D88-CDD3-678848765C41}"/>
              </a:ext>
            </a:extLst>
          </p:cNvPr>
          <p:cNvSpPr/>
          <p:nvPr userDrawn="1"/>
        </p:nvSpPr>
        <p:spPr>
          <a:xfrm>
            <a:off x="6092558" y="0"/>
            <a:ext cx="6099442" cy="6858000"/>
          </a:xfrm>
          <a:prstGeom prst="rect">
            <a:avLst/>
          </a:prstGeom>
          <a:gradFill flip="none" rotWithShape="1">
            <a:gsLst>
              <a:gs pos="1000">
                <a:srgbClr val="1D6095"/>
              </a:gs>
              <a:gs pos="99000">
                <a:srgbClr val="0178A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E838168-ECDE-63BE-5F3E-E6CB0C5505D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093600" y="0"/>
            <a:ext cx="60984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69C9A99-CEFD-76C2-DC01-163BC7F302A9}"/>
              </a:ext>
            </a:extLst>
          </p:cNvPr>
          <p:cNvCxnSpPr>
            <a:cxnSpLocks/>
          </p:cNvCxnSpPr>
          <p:nvPr userDrawn="1"/>
        </p:nvCxnSpPr>
        <p:spPr>
          <a:xfrm>
            <a:off x="711430" y="17780"/>
            <a:ext cx="1883224" cy="0"/>
          </a:xfrm>
          <a:prstGeom prst="line">
            <a:avLst/>
          </a:prstGeom>
          <a:noFill/>
          <a:ln w="38100" cap="rnd">
            <a:solidFill>
              <a:srgbClr val="F96E46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A1F54D7-57C0-9678-3F7B-09CAA426C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6" y="417952"/>
            <a:ext cx="4679950" cy="1224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35486DB-DE52-EF36-1742-7F4A290F6F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95290" y="1661354"/>
            <a:ext cx="4679949" cy="4558463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0ADEA059-C729-514C-E678-A9F7A7F1F8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8622" y="6393083"/>
            <a:ext cx="943356" cy="225463"/>
          </a:xfrm>
          <a:prstGeom prst="rect">
            <a:avLst/>
          </a:prstGeom>
        </p:spPr>
      </p:pic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D61050BD-FCC2-0CD2-EDA5-3A2AF8F828FC}"/>
              </a:ext>
            </a:extLst>
          </p:cNvPr>
          <p:cNvSpPr txBox="1">
            <a:spLocks/>
          </p:cNvSpPr>
          <p:nvPr userDrawn="1"/>
        </p:nvSpPr>
        <p:spPr>
          <a:xfrm>
            <a:off x="5184338" y="6396404"/>
            <a:ext cx="226822" cy="224155"/>
          </a:xfrm>
          <a:prstGeom prst="ellipse">
            <a:avLst/>
          </a:prstGeom>
          <a:ln w="19050">
            <a:solidFill>
              <a:schemeClr val="accent5"/>
            </a:solidFill>
          </a:ln>
        </p:spPr>
        <p:txBody>
          <a:bodyPr lIns="0" tIns="0" rIns="0" bIns="0" anchor="ctr"/>
          <a:lstStyle>
            <a:defPPr>
              <a:defRPr lang="en-US"/>
            </a:defPPr>
            <a:lvl1pPr marL="0" algn="ctr" defTabSz="228600" rtl="0" eaLnBrk="1" latinLnBrk="0" hangingPunct="1">
              <a:defRPr sz="12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09F87CD-0A17-480A-BA0C-CEA734C9A086}" type="slidenum">
              <a:rPr lang="en-US" smtClean="0">
                <a:solidFill>
                  <a:schemeClr val="accent1"/>
                </a:solidFill>
              </a:rPr>
              <a:pPr/>
              <a:t>‹nr.›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511CB6A-AC61-D56D-7E38-75FC85D18CF7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1341848"/>
            <a:ext cx="360000" cy="36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402C159-0DF3-218D-3C9E-F184C0556BF5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3412616"/>
            <a:ext cx="360000" cy="36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5F0009B-8A96-C45C-5C26-44B3C7F63F06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1859540"/>
            <a:ext cx="360000" cy="3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C7C1B84-80D9-8EDB-DE33-F1962543F519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2377232"/>
            <a:ext cx="360000" cy="36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16542EE-DF57-EF0C-1A8B-DE107EE2AE2D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2894924"/>
            <a:ext cx="360000" cy="36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6C71E18-6A65-D371-6DA8-98D43AFB6F1D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3930308"/>
            <a:ext cx="360000" cy="36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CDCC81D-5D0B-4F22-A053-C4ADFE21568A}"/>
              </a:ext>
            </a:extLst>
          </p:cNvPr>
          <p:cNvSpPr txBox="1"/>
          <p:nvPr userDrawn="1"/>
        </p:nvSpPr>
        <p:spPr>
          <a:xfrm>
            <a:off x="-2709668" y="1321794"/>
            <a:ext cx="2058824" cy="400110"/>
          </a:xfrm>
          <a:prstGeom prst="rect">
            <a:avLst/>
          </a:prstGeom>
          <a:noFill/>
        </p:spPr>
        <p:txBody>
          <a:bodyPr wrap="none" lIns="36000" rIns="36000" rtlCol="0" anchor="ctr">
            <a:spAutoFit/>
          </a:bodyPr>
          <a:lstStyle/>
          <a:p>
            <a:pPr algn="r"/>
            <a:r>
              <a:rPr lang="en-NL" sz="1000">
                <a:solidFill>
                  <a:schemeClr val="accent5"/>
                </a:solidFill>
              </a:rPr>
              <a:t>Use color for titles</a:t>
            </a:r>
          </a:p>
          <a:p>
            <a:pPr algn="r"/>
            <a:r>
              <a:rPr lang="en-NL" sz="1000">
                <a:solidFill>
                  <a:schemeClr val="accent5"/>
                </a:solidFill>
              </a:rPr>
              <a:t>Font type title: </a:t>
            </a:r>
            <a:r>
              <a:rPr lang="en-GB" sz="1000">
                <a:solidFill>
                  <a:schemeClr val="accent5"/>
                </a:solidFill>
              </a:rPr>
              <a:t>Browallia New, size 44</a:t>
            </a:r>
            <a:endParaRPr lang="en-NL" sz="1000">
              <a:solidFill>
                <a:schemeClr val="accent5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80E8089-B39E-8EC8-5D58-7EA046873B5F}"/>
              </a:ext>
            </a:extLst>
          </p:cNvPr>
          <p:cNvSpPr txBox="1"/>
          <p:nvPr userDrawn="1"/>
        </p:nvSpPr>
        <p:spPr>
          <a:xfrm>
            <a:off x="-2291285" y="3910251"/>
            <a:ext cx="1640441" cy="400110"/>
          </a:xfrm>
          <a:prstGeom prst="rect">
            <a:avLst/>
          </a:prstGeom>
          <a:noFill/>
        </p:spPr>
        <p:txBody>
          <a:bodyPr wrap="none" lIns="36000" rIns="36000" rtlCol="0" anchor="ctr">
            <a:spAutoFit/>
          </a:bodyPr>
          <a:lstStyle/>
          <a:p>
            <a:pPr algn="r"/>
            <a:r>
              <a:rPr lang="en-NL" sz="1000">
                <a:solidFill>
                  <a:schemeClr val="accent5"/>
                </a:solidFill>
              </a:rPr>
              <a:t>Use color for text</a:t>
            </a:r>
          </a:p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NL" sz="1000">
                <a:solidFill>
                  <a:schemeClr val="accent5"/>
                </a:solidFill>
              </a:rPr>
              <a:t>Font type text: Corbel</a:t>
            </a:r>
            <a:r>
              <a:rPr lang="en-GB" sz="1000">
                <a:solidFill>
                  <a:schemeClr val="accent5"/>
                </a:solidFill>
              </a:rPr>
              <a:t>, size 14</a:t>
            </a:r>
            <a:endParaRPr lang="en-NL" sz="1000">
              <a:solidFill>
                <a:schemeClr val="accent5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6747DC8-131A-7763-2F79-F318C3CE708B}"/>
              </a:ext>
            </a:extLst>
          </p:cNvPr>
          <p:cNvSpPr/>
          <p:nvPr userDrawn="1"/>
        </p:nvSpPr>
        <p:spPr>
          <a:xfrm>
            <a:off x="6093600" y="0"/>
            <a:ext cx="6098400" cy="6858000"/>
          </a:xfrm>
          <a:prstGeom prst="rect">
            <a:avLst/>
          </a:prstGeom>
          <a:gradFill>
            <a:gsLst>
              <a:gs pos="0">
                <a:srgbClr val="1C4C94">
                  <a:alpha val="88000"/>
                </a:srgbClr>
              </a:gs>
              <a:gs pos="99000">
                <a:srgbClr val="0379A8">
                  <a:alpha val="59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4335314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3386">
          <p15:clr>
            <a:srgbClr val="FBAE40"/>
          </p15:clr>
        </p15:guide>
        <p15:guide id="5" orient="horz" pos="34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92138C-F37F-2F37-65DB-69914887707D}"/>
              </a:ext>
            </a:extLst>
          </p:cNvPr>
          <p:cNvSpPr/>
          <p:nvPr userDrawn="1"/>
        </p:nvSpPr>
        <p:spPr>
          <a:xfrm>
            <a:off x="0" y="0"/>
            <a:ext cx="6099442" cy="6858000"/>
          </a:xfrm>
          <a:prstGeom prst="rect">
            <a:avLst/>
          </a:prstGeom>
          <a:gradFill>
            <a:gsLst>
              <a:gs pos="1000">
                <a:srgbClr val="1D6095"/>
              </a:gs>
              <a:gs pos="99000">
                <a:srgbClr val="0178A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A589B61-EDFA-D2C7-543D-BDBBB984E9D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0"/>
            <a:ext cx="6099442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F429B15-5519-2C6F-8527-46195F599056}"/>
              </a:ext>
            </a:extLst>
          </p:cNvPr>
          <p:cNvSpPr/>
          <p:nvPr userDrawn="1"/>
        </p:nvSpPr>
        <p:spPr>
          <a:xfrm>
            <a:off x="0" y="0"/>
            <a:ext cx="6098400" cy="6858000"/>
          </a:xfrm>
          <a:prstGeom prst="rect">
            <a:avLst/>
          </a:prstGeom>
          <a:gradFill>
            <a:gsLst>
              <a:gs pos="0">
                <a:srgbClr val="1C4C94">
                  <a:alpha val="70000"/>
                </a:srgbClr>
              </a:gs>
              <a:gs pos="99000">
                <a:srgbClr val="0379A8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A326497-0FDA-04A3-A9C4-D92DD339A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6726" y="417952"/>
            <a:ext cx="4679986" cy="1224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418E937-3933-87E6-D115-0782B4BC8A6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816726" y="1661354"/>
            <a:ext cx="4679950" cy="4558463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D9347A7-FB35-57F2-FA90-08568BF79F99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1341848"/>
            <a:ext cx="360000" cy="36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336033C-2E4B-29F1-0C13-CDC1B8218A3D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3412616"/>
            <a:ext cx="360000" cy="36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1C0FF8A-3C1F-DDA6-6017-F2DC6D677930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1859540"/>
            <a:ext cx="360000" cy="3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5077595-E2AB-5A16-8BB7-DF8F9626E6E5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2377232"/>
            <a:ext cx="360000" cy="36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CF381E7-50F7-4095-2097-AFA74AF4FC92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2894924"/>
            <a:ext cx="360000" cy="36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2FDD880-00B2-2CE6-00B0-54EF2A0CC23B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3930308"/>
            <a:ext cx="360000" cy="36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95AF8A3-C501-5DF6-9CD9-DCAE340F34E3}"/>
              </a:ext>
            </a:extLst>
          </p:cNvPr>
          <p:cNvSpPr txBox="1"/>
          <p:nvPr userDrawn="1"/>
        </p:nvSpPr>
        <p:spPr>
          <a:xfrm>
            <a:off x="-2709668" y="1321794"/>
            <a:ext cx="2058824" cy="400110"/>
          </a:xfrm>
          <a:prstGeom prst="rect">
            <a:avLst/>
          </a:prstGeom>
          <a:noFill/>
        </p:spPr>
        <p:txBody>
          <a:bodyPr wrap="none" lIns="36000" rIns="36000" rtlCol="0" anchor="ctr">
            <a:spAutoFit/>
          </a:bodyPr>
          <a:lstStyle/>
          <a:p>
            <a:pPr algn="r"/>
            <a:r>
              <a:rPr lang="en-NL" sz="1000">
                <a:solidFill>
                  <a:schemeClr val="accent5"/>
                </a:solidFill>
              </a:rPr>
              <a:t>Use color for titles</a:t>
            </a:r>
          </a:p>
          <a:p>
            <a:pPr algn="r"/>
            <a:r>
              <a:rPr lang="en-NL" sz="1000">
                <a:solidFill>
                  <a:schemeClr val="accent5"/>
                </a:solidFill>
              </a:rPr>
              <a:t>Font type title: </a:t>
            </a:r>
            <a:r>
              <a:rPr lang="en-GB" sz="1000">
                <a:solidFill>
                  <a:schemeClr val="accent5"/>
                </a:solidFill>
              </a:rPr>
              <a:t>Browallia New, size 44</a:t>
            </a:r>
            <a:endParaRPr lang="en-NL" sz="1000">
              <a:solidFill>
                <a:schemeClr val="accent5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B262EFC-0629-464B-8132-A6C20DE4DAF5}"/>
              </a:ext>
            </a:extLst>
          </p:cNvPr>
          <p:cNvSpPr txBox="1"/>
          <p:nvPr userDrawn="1"/>
        </p:nvSpPr>
        <p:spPr>
          <a:xfrm>
            <a:off x="-2291285" y="3910251"/>
            <a:ext cx="1640441" cy="400110"/>
          </a:xfrm>
          <a:prstGeom prst="rect">
            <a:avLst/>
          </a:prstGeom>
          <a:noFill/>
        </p:spPr>
        <p:txBody>
          <a:bodyPr wrap="none" lIns="36000" rIns="36000" rtlCol="0" anchor="ctr">
            <a:spAutoFit/>
          </a:bodyPr>
          <a:lstStyle/>
          <a:p>
            <a:pPr algn="r"/>
            <a:r>
              <a:rPr lang="en-NL" sz="1000">
                <a:solidFill>
                  <a:schemeClr val="accent5"/>
                </a:solidFill>
              </a:rPr>
              <a:t>Use color for text</a:t>
            </a:r>
          </a:p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NL" sz="1000">
                <a:solidFill>
                  <a:schemeClr val="accent5"/>
                </a:solidFill>
              </a:rPr>
              <a:t>Font type text: Corbel</a:t>
            </a:r>
            <a:r>
              <a:rPr lang="en-GB" sz="1000">
                <a:solidFill>
                  <a:schemeClr val="accent5"/>
                </a:solidFill>
              </a:rPr>
              <a:t>, size 14</a:t>
            </a:r>
            <a:endParaRPr lang="en-NL" sz="1000">
              <a:solidFill>
                <a:schemeClr val="accent5"/>
              </a:solidFill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8E5AA66-B3B6-43E5-E415-E1E05C824B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16726" y="6393083"/>
            <a:ext cx="943356" cy="225463"/>
          </a:xfrm>
          <a:prstGeom prst="rect">
            <a:avLst/>
          </a:prstGeom>
        </p:spPr>
      </p:pic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4A911F3D-5ACF-D865-EF3F-411CAE11C4D5}"/>
              </a:ext>
            </a:extLst>
          </p:cNvPr>
          <p:cNvSpPr txBox="1">
            <a:spLocks/>
          </p:cNvSpPr>
          <p:nvPr userDrawn="1"/>
        </p:nvSpPr>
        <p:spPr>
          <a:xfrm>
            <a:off x="11317940" y="6396404"/>
            <a:ext cx="226822" cy="224155"/>
          </a:xfrm>
          <a:prstGeom prst="ellipse">
            <a:avLst/>
          </a:prstGeom>
          <a:ln w="19050">
            <a:solidFill>
              <a:schemeClr val="accent5"/>
            </a:solidFill>
          </a:ln>
        </p:spPr>
        <p:txBody>
          <a:bodyPr lIns="0" tIns="0" rIns="0" bIns="0" anchor="ctr"/>
          <a:lstStyle>
            <a:defPPr>
              <a:defRPr lang="en-US"/>
            </a:defPPr>
            <a:lvl1pPr marL="0" algn="ctr" defTabSz="228600" rtl="0" eaLnBrk="1" latinLnBrk="0" hangingPunct="1">
              <a:defRPr sz="12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09F87CD-0A17-480A-BA0C-CEA734C9A086}" type="slidenum">
              <a:rPr lang="en-US" smtClean="0">
                <a:solidFill>
                  <a:schemeClr val="accent1"/>
                </a:solidFill>
              </a:rPr>
              <a:pPr/>
              <a:t>‹nr.›</a:t>
            </a:fld>
            <a:endParaRPr lang="en-US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4101199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3840">
          <p15:clr>
            <a:srgbClr val="FBAE40"/>
          </p15:clr>
        </p15:guide>
        <p15:guide id="3" pos="7242">
          <p15:clr>
            <a:srgbClr val="FBAE40"/>
          </p15:clr>
        </p15:guide>
        <p15:guide id="4" pos="4294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3D7AB2E-5F72-5AE1-CB40-8AAE48C9888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19138" y="0"/>
            <a:ext cx="3487737" cy="685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61AFB359-1889-C3AE-1620-C72C139C1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0800" y="1461346"/>
            <a:ext cx="5654246" cy="162660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60000"/>
              </a:lnSpc>
              <a:defRPr sz="54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7DF2FC3-85C5-EE62-2997-459BD99042A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260800" y="3224477"/>
            <a:ext cx="5654246" cy="228197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buNone/>
              <a:defRPr sz="15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6E03E89-9F3B-E163-4AC2-16CB3B83F0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53529" y="421909"/>
            <a:ext cx="1209635" cy="289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006347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1774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8343792-E0B7-0403-490F-1CA46DEC27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177A3"/>
              </a:gs>
              <a:gs pos="100000">
                <a:srgbClr val="1C609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6896ABFB-CF65-1CD8-B4BD-A934F23CF541}"/>
              </a:ext>
            </a:extLst>
          </p:cNvPr>
          <p:cNvSpPr/>
          <p:nvPr userDrawn="1"/>
        </p:nvSpPr>
        <p:spPr>
          <a:xfrm>
            <a:off x="1" y="0"/>
            <a:ext cx="12191999" cy="6858001"/>
          </a:xfrm>
          <a:custGeom>
            <a:avLst/>
            <a:gdLst>
              <a:gd name="connsiteX0" fmla="*/ 11262989 w 12191999"/>
              <a:gd name="connsiteY0" fmla="*/ 3649930 h 6858001"/>
              <a:gd name="connsiteX1" fmla="*/ 11289557 w 12191999"/>
              <a:gd name="connsiteY1" fmla="*/ 3742053 h 6858001"/>
              <a:gd name="connsiteX2" fmla="*/ 11058675 w 12191999"/>
              <a:gd name="connsiteY2" fmla="*/ 5456271 h 6858001"/>
              <a:gd name="connsiteX3" fmla="*/ 10801467 w 12191999"/>
              <a:gd name="connsiteY3" fmla="*/ 6740623 h 6858001"/>
              <a:gd name="connsiteX4" fmla="*/ 10783126 w 12191999"/>
              <a:gd name="connsiteY4" fmla="*/ 6858001 h 6858001"/>
              <a:gd name="connsiteX5" fmla="*/ 9920828 w 12191999"/>
              <a:gd name="connsiteY5" fmla="*/ 6858001 h 6858001"/>
              <a:gd name="connsiteX6" fmla="*/ 10023315 w 12191999"/>
              <a:gd name="connsiteY6" fmla="*/ 6372675 h 6858001"/>
              <a:gd name="connsiteX7" fmla="*/ 10137635 w 12191999"/>
              <a:gd name="connsiteY7" fmla="*/ 5854963 h 6858001"/>
              <a:gd name="connsiteX8" fmla="*/ 11170867 w 12191999"/>
              <a:gd name="connsiteY8" fmla="*/ 3716251 h 6858001"/>
              <a:gd name="connsiteX9" fmla="*/ 11262989 w 12191999"/>
              <a:gd name="connsiteY9" fmla="*/ 3649930 h 6858001"/>
              <a:gd name="connsiteX10" fmla="*/ 10013108 w 12191999"/>
              <a:gd name="connsiteY10" fmla="*/ 1 h 6858001"/>
              <a:gd name="connsiteX11" fmla="*/ 11513123 w 12191999"/>
              <a:gd name="connsiteY11" fmla="*/ 1 h 6858001"/>
              <a:gd name="connsiteX12" fmla="*/ 11375667 w 12191999"/>
              <a:gd name="connsiteY12" fmla="*/ 242204 h 6858001"/>
              <a:gd name="connsiteX13" fmla="*/ 8901800 w 12191999"/>
              <a:gd name="connsiteY13" fmla="*/ 3065651 h 6858001"/>
              <a:gd name="connsiteX14" fmla="*/ 8849051 w 12191999"/>
              <a:gd name="connsiteY14" fmla="*/ 3092218 h 6858001"/>
              <a:gd name="connsiteX15" fmla="*/ 8835862 w 12191999"/>
              <a:gd name="connsiteY15" fmla="*/ 3065844 h 6858001"/>
              <a:gd name="connsiteX16" fmla="*/ 8848858 w 12191999"/>
              <a:gd name="connsiteY16" fmla="*/ 3039466 h 6858001"/>
              <a:gd name="connsiteX17" fmla="*/ 9928744 w 12191999"/>
              <a:gd name="connsiteY17" fmla="*/ 136047 h 6858001"/>
              <a:gd name="connsiteX18" fmla="*/ 0 w 12191999"/>
              <a:gd name="connsiteY18" fmla="*/ 0 h 6858001"/>
              <a:gd name="connsiteX19" fmla="*/ 8524326 w 12191999"/>
              <a:gd name="connsiteY19" fmla="*/ 0 h 6858001"/>
              <a:gd name="connsiteX20" fmla="*/ 8358239 w 12191999"/>
              <a:gd name="connsiteY20" fmla="*/ 358554 h 6858001"/>
              <a:gd name="connsiteX21" fmla="*/ 8182024 w 12191999"/>
              <a:gd name="connsiteY21" fmla="*/ 801561 h 6858001"/>
              <a:gd name="connsiteX22" fmla="*/ 7106740 w 12191999"/>
              <a:gd name="connsiteY22" fmla="*/ 5918991 h 6858001"/>
              <a:gd name="connsiteX23" fmla="*/ 7167886 w 12191999"/>
              <a:gd name="connsiteY23" fmla="*/ 6821267 h 6858001"/>
              <a:gd name="connsiteX24" fmla="*/ 7174068 w 12191999"/>
              <a:gd name="connsiteY24" fmla="*/ 6858000 h 6858001"/>
              <a:gd name="connsiteX25" fmla="*/ 0 w 12191999"/>
              <a:gd name="connsiteY25" fmla="*/ 6858000 h 6858001"/>
              <a:gd name="connsiteX26" fmla="*/ 12191997 w 12191999"/>
              <a:gd name="connsiteY26" fmla="*/ 0 h 6858001"/>
              <a:gd name="connsiteX27" fmla="*/ 12191999 w 12191999"/>
              <a:gd name="connsiteY27" fmla="*/ 0 h 6858001"/>
              <a:gd name="connsiteX28" fmla="*/ 12191999 w 12191999"/>
              <a:gd name="connsiteY28" fmla="*/ 6391986 h 6858001"/>
              <a:gd name="connsiteX29" fmla="*/ 12147315 w 12191999"/>
              <a:gd name="connsiteY29" fmla="*/ 6604731 h 6858001"/>
              <a:gd name="connsiteX30" fmla="*/ 12101825 w 12191999"/>
              <a:gd name="connsiteY30" fmla="*/ 6858000 h 6858001"/>
              <a:gd name="connsiteX31" fmla="*/ 12101823 w 12191999"/>
              <a:gd name="connsiteY31" fmla="*/ 6858000 h 6858001"/>
              <a:gd name="connsiteX32" fmla="*/ 12147313 w 12191999"/>
              <a:gd name="connsiteY32" fmla="*/ 6604731 h 6858001"/>
              <a:gd name="connsiteX33" fmla="*/ 12191997 w 12191999"/>
              <a:gd name="connsiteY33" fmla="*/ 6391986 h 6858001"/>
              <a:gd name="connsiteX34" fmla="*/ 12191997 w 12191999"/>
              <a:gd name="connsiteY34" fmla="*/ 3161904 h 6858001"/>
              <a:gd name="connsiteX35" fmla="*/ 12181717 w 12191999"/>
              <a:gd name="connsiteY35" fmla="*/ 3148611 h 6858001"/>
              <a:gd name="connsiteX36" fmla="*/ 11629187 w 12191999"/>
              <a:gd name="connsiteY36" fmla="*/ 2897654 h 6858001"/>
              <a:gd name="connsiteX37" fmla="*/ 10079336 w 12191999"/>
              <a:gd name="connsiteY37" fmla="*/ 4339900 h 6858001"/>
              <a:gd name="connsiteX38" fmla="*/ 9428546 w 12191999"/>
              <a:gd name="connsiteY38" fmla="*/ 6569394 h 6858001"/>
              <a:gd name="connsiteX39" fmla="*/ 9392062 w 12191999"/>
              <a:gd name="connsiteY39" fmla="*/ 6756138 h 6858001"/>
              <a:gd name="connsiteX40" fmla="*/ 9370421 w 12191999"/>
              <a:gd name="connsiteY40" fmla="*/ 6858000 h 6858001"/>
              <a:gd name="connsiteX41" fmla="*/ 8503891 w 12191999"/>
              <a:gd name="connsiteY41" fmla="*/ 6858000 h 6858001"/>
              <a:gd name="connsiteX42" fmla="*/ 8493864 w 12191999"/>
              <a:gd name="connsiteY42" fmla="*/ 6814873 h 6858001"/>
              <a:gd name="connsiteX43" fmla="*/ 8424939 w 12191999"/>
              <a:gd name="connsiteY43" fmla="*/ 5966770 h 6858001"/>
              <a:gd name="connsiteX44" fmla="*/ 8628487 w 12191999"/>
              <a:gd name="connsiteY44" fmla="*/ 3975995 h 6858001"/>
              <a:gd name="connsiteX45" fmla="*/ 8733417 w 12191999"/>
              <a:gd name="connsiteY45" fmla="*/ 3817358 h 6858001"/>
              <a:gd name="connsiteX46" fmla="*/ 11845159 w 12191999"/>
              <a:gd name="connsiteY46" fmla="*/ 656307 h 6858001"/>
              <a:gd name="connsiteX47" fmla="*/ 12039981 w 12191999"/>
              <a:gd name="connsiteY47" fmla="*/ 379343 h 6858001"/>
              <a:gd name="connsiteX48" fmla="*/ 12191997 w 12191999"/>
              <a:gd name="connsiteY48" fmla="*/ 14724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2191999" h="6858001">
                <a:moveTo>
                  <a:pt x="11262989" y="3649930"/>
                </a:moveTo>
                <a:cubicBezTo>
                  <a:pt x="11289175" y="3649930"/>
                  <a:pt x="11289367" y="3689494"/>
                  <a:pt x="11289557" y="3742053"/>
                </a:cubicBezTo>
                <a:cubicBezTo>
                  <a:pt x="11252671" y="4427626"/>
                  <a:pt x="11187877" y="4770509"/>
                  <a:pt x="11058675" y="5456271"/>
                </a:cubicBezTo>
                <a:cubicBezTo>
                  <a:pt x="10974483" y="5865189"/>
                  <a:pt x="10877249" y="6297184"/>
                  <a:pt x="10801467" y="6740623"/>
                </a:cubicBezTo>
                <a:lnTo>
                  <a:pt x="10783126" y="6858001"/>
                </a:lnTo>
                <a:lnTo>
                  <a:pt x="9920828" y="6858001"/>
                </a:lnTo>
                <a:lnTo>
                  <a:pt x="10023315" y="6372675"/>
                </a:lnTo>
                <a:cubicBezTo>
                  <a:pt x="10058939" y="6199565"/>
                  <a:pt x="10095396" y="6026452"/>
                  <a:pt x="10137635" y="5854963"/>
                </a:cubicBezTo>
                <a:cubicBezTo>
                  <a:pt x="10332203" y="5010753"/>
                  <a:pt x="10645650" y="4297852"/>
                  <a:pt x="11170867" y="3716251"/>
                </a:cubicBezTo>
                <a:cubicBezTo>
                  <a:pt x="11210241" y="3676305"/>
                  <a:pt x="11236809" y="3649930"/>
                  <a:pt x="11262989" y="3649930"/>
                </a:cubicBezTo>
                <a:close/>
                <a:moveTo>
                  <a:pt x="10013108" y="1"/>
                </a:moveTo>
                <a:lnTo>
                  <a:pt x="11513123" y="1"/>
                </a:lnTo>
                <a:lnTo>
                  <a:pt x="11375667" y="242204"/>
                </a:lnTo>
                <a:cubicBezTo>
                  <a:pt x="10719010" y="1351000"/>
                  <a:pt x="9855550" y="2162743"/>
                  <a:pt x="8901800" y="3065651"/>
                </a:cubicBezTo>
                <a:cubicBezTo>
                  <a:pt x="8888421" y="3079029"/>
                  <a:pt x="8875426" y="3092218"/>
                  <a:pt x="8849051" y="3092218"/>
                </a:cubicBezTo>
                <a:lnTo>
                  <a:pt x="8835862" y="3065844"/>
                </a:lnTo>
                <a:lnTo>
                  <a:pt x="8848858" y="3039466"/>
                </a:lnTo>
                <a:cubicBezTo>
                  <a:pt x="9099043" y="2060013"/>
                  <a:pt x="9398823" y="1036745"/>
                  <a:pt x="9928744" y="136047"/>
                </a:cubicBezTo>
                <a:close/>
                <a:moveTo>
                  <a:pt x="0" y="0"/>
                </a:moveTo>
                <a:lnTo>
                  <a:pt x="8524326" y="0"/>
                </a:lnTo>
                <a:lnTo>
                  <a:pt x="8358239" y="358554"/>
                </a:lnTo>
                <a:cubicBezTo>
                  <a:pt x="8294613" y="506688"/>
                  <a:pt x="8235850" y="654752"/>
                  <a:pt x="8182024" y="801561"/>
                </a:cubicBezTo>
                <a:cubicBezTo>
                  <a:pt x="7620684" y="2306117"/>
                  <a:pt x="7100433" y="4179350"/>
                  <a:pt x="7106740" y="5918991"/>
                </a:cubicBezTo>
                <a:cubicBezTo>
                  <a:pt x="7107697" y="6190809"/>
                  <a:pt x="7121700" y="6506340"/>
                  <a:pt x="7167886" y="6821267"/>
                </a:cubicBezTo>
                <a:lnTo>
                  <a:pt x="7174068" y="6858000"/>
                </a:lnTo>
                <a:lnTo>
                  <a:pt x="0" y="6858000"/>
                </a:lnTo>
                <a:close/>
                <a:moveTo>
                  <a:pt x="12191997" y="0"/>
                </a:moveTo>
                <a:lnTo>
                  <a:pt x="12191999" y="0"/>
                </a:lnTo>
                <a:lnTo>
                  <a:pt x="12191999" y="6391986"/>
                </a:lnTo>
                <a:lnTo>
                  <a:pt x="12147315" y="6604731"/>
                </a:lnTo>
                <a:lnTo>
                  <a:pt x="12101825" y="6858000"/>
                </a:lnTo>
                <a:lnTo>
                  <a:pt x="12101823" y="6858000"/>
                </a:lnTo>
                <a:lnTo>
                  <a:pt x="12147313" y="6604731"/>
                </a:lnTo>
                <a:lnTo>
                  <a:pt x="12191997" y="6391986"/>
                </a:lnTo>
                <a:lnTo>
                  <a:pt x="12191997" y="3161904"/>
                </a:lnTo>
                <a:lnTo>
                  <a:pt x="12181717" y="3148611"/>
                </a:lnTo>
                <a:cubicBezTo>
                  <a:pt x="12044071" y="2990650"/>
                  <a:pt x="11861475" y="2896795"/>
                  <a:pt x="11629187" y="2897654"/>
                </a:cubicBezTo>
                <a:cubicBezTo>
                  <a:pt x="10891243" y="2926706"/>
                  <a:pt x="10366788" y="3653562"/>
                  <a:pt x="10079336" y="4339900"/>
                </a:cubicBezTo>
                <a:cubicBezTo>
                  <a:pt x="9752505" y="5052801"/>
                  <a:pt x="9544370" y="5804698"/>
                  <a:pt x="9428546" y="6569394"/>
                </a:cubicBezTo>
                <a:cubicBezTo>
                  <a:pt x="9417222" y="6628740"/>
                  <a:pt x="9405089" y="6691588"/>
                  <a:pt x="9392062" y="6756138"/>
                </a:cubicBezTo>
                <a:lnTo>
                  <a:pt x="9370421" y="6858000"/>
                </a:lnTo>
                <a:lnTo>
                  <a:pt x="8503891" y="6858000"/>
                </a:lnTo>
                <a:lnTo>
                  <a:pt x="8493864" y="6814873"/>
                </a:lnTo>
                <a:cubicBezTo>
                  <a:pt x="8446871" y="6572882"/>
                  <a:pt x="8432776" y="6315960"/>
                  <a:pt x="8424939" y="5966770"/>
                </a:cubicBezTo>
                <a:cubicBezTo>
                  <a:pt x="8422454" y="5307765"/>
                  <a:pt x="8499096" y="4635571"/>
                  <a:pt x="8628487" y="3975995"/>
                </a:cubicBezTo>
                <a:cubicBezTo>
                  <a:pt x="8641487" y="3910053"/>
                  <a:pt x="8667479" y="3857304"/>
                  <a:pt x="8733417" y="3817358"/>
                </a:cubicBezTo>
                <a:cubicBezTo>
                  <a:pt x="9797232" y="2877969"/>
                  <a:pt x="10861425" y="1951382"/>
                  <a:pt x="11845159" y="656307"/>
                </a:cubicBezTo>
                <a:cubicBezTo>
                  <a:pt x="11914013" y="560505"/>
                  <a:pt x="11978963" y="468629"/>
                  <a:pt x="12039981" y="379343"/>
                </a:cubicBezTo>
                <a:lnTo>
                  <a:pt x="12191997" y="1472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0183B35-E8E5-D8B1-512C-F1D1BCA30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7650" y="604491"/>
            <a:ext cx="1910750" cy="456671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60F4218-2EE0-546D-3F79-E0E719A6FCFB}"/>
              </a:ext>
            </a:extLst>
          </p:cNvPr>
          <p:cNvCxnSpPr>
            <a:cxnSpLocks/>
          </p:cNvCxnSpPr>
          <p:nvPr userDrawn="1"/>
        </p:nvCxnSpPr>
        <p:spPr>
          <a:xfrm>
            <a:off x="0" y="4220935"/>
            <a:ext cx="6249500" cy="0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ubtitle 2">
            <a:extLst>
              <a:ext uri="{FF2B5EF4-FFF2-40B4-BE49-F238E27FC236}">
                <a16:creationId xmlns:a16="http://schemas.microsoft.com/office/drawing/2014/main" id="{F4BAC6E8-70D6-03EB-2CF9-73EF399350E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16" y="4359254"/>
            <a:ext cx="8548255" cy="1300978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PK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BADFC970-AC73-A3EA-1D39-CD87A3E84E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939" y="1963717"/>
            <a:ext cx="8570188" cy="2305087"/>
          </a:xfrm>
          <a:prstGeom prst="rect">
            <a:avLst/>
          </a:prstGeom>
        </p:spPr>
        <p:txBody>
          <a:bodyPr lIns="0" tIns="46800" rIns="0" anchor="b">
            <a:noAutofit/>
          </a:bodyPr>
          <a:lstStyle>
            <a:lvl1pPr algn="l">
              <a:lnSpc>
                <a:spcPct val="60000"/>
              </a:lnSpc>
              <a:defRPr sz="7200">
                <a:solidFill>
                  <a:schemeClr val="bg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5FE48B-DAAC-027F-E8AC-F238A14B8639}"/>
              </a:ext>
            </a:extLst>
          </p:cNvPr>
          <p:cNvCxnSpPr>
            <a:cxnSpLocks/>
          </p:cNvCxnSpPr>
          <p:nvPr userDrawn="1"/>
        </p:nvCxnSpPr>
        <p:spPr>
          <a:xfrm>
            <a:off x="527650" y="4220935"/>
            <a:ext cx="1019210" cy="0"/>
          </a:xfrm>
          <a:prstGeom prst="line">
            <a:avLst/>
          </a:prstGeom>
          <a:ln w="381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4DCE45CC-D9B6-C91F-F8F3-AE5826DDB67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27650" y="756891"/>
            <a:ext cx="1910750" cy="45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313028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25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ivi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6896ABFB-CF65-1CD8-B4BD-A934F23CF541}"/>
              </a:ext>
            </a:extLst>
          </p:cNvPr>
          <p:cNvSpPr/>
          <p:nvPr userDrawn="1"/>
        </p:nvSpPr>
        <p:spPr>
          <a:xfrm>
            <a:off x="1" y="0"/>
            <a:ext cx="12191999" cy="6858001"/>
          </a:xfrm>
          <a:custGeom>
            <a:avLst/>
            <a:gdLst>
              <a:gd name="connsiteX0" fmla="*/ 11262989 w 12191999"/>
              <a:gd name="connsiteY0" fmla="*/ 3649930 h 6858001"/>
              <a:gd name="connsiteX1" fmla="*/ 11289557 w 12191999"/>
              <a:gd name="connsiteY1" fmla="*/ 3742053 h 6858001"/>
              <a:gd name="connsiteX2" fmla="*/ 11058675 w 12191999"/>
              <a:gd name="connsiteY2" fmla="*/ 5456271 h 6858001"/>
              <a:gd name="connsiteX3" fmla="*/ 10801467 w 12191999"/>
              <a:gd name="connsiteY3" fmla="*/ 6740623 h 6858001"/>
              <a:gd name="connsiteX4" fmla="*/ 10783126 w 12191999"/>
              <a:gd name="connsiteY4" fmla="*/ 6858001 h 6858001"/>
              <a:gd name="connsiteX5" fmla="*/ 9920828 w 12191999"/>
              <a:gd name="connsiteY5" fmla="*/ 6858001 h 6858001"/>
              <a:gd name="connsiteX6" fmla="*/ 10023315 w 12191999"/>
              <a:gd name="connsiteY6" fmla="*/ 6372675 h 6858001"/>
              <a:gd name="connsiteX7" fmla="*/ 10137635 w 12191999"/>
              <a:gd name="connsiteY7" fmla="*/ 5854963 h 6858001"/>
              <a:gd name="connsiteX8" fmla="*/ 11170867 w 12191999"/>
              <a:gd name="connsiteY8" fmla="*/ 3716251 h 6858001"/>
              <a:gd name="connsiteX9" fmla="*/ 11262989 w 12191999"/>
              <a:gd name="connsiteY9" fmla="*/ 3649930 h 6858001"/>
              <a:gd name="connsiteX10" fmla="*/ 10013108 w 12191999"/>
              <a:gd name="connsiteY10" fmla="*/ 1 h 6858001"/>
              <a:gd name="connsiteX11" fmla="*/ 11513123 w 12191999"/>
              <a:gd name="connsiteY11" fmla="*/ 1 h 6858001"/>
              <a:gd name="connsiteX12" fmla="*/ 11375667 w 12191999"/>
              <a:gd name="connsiteY12" fmla="*/ 242204 h 6858001"/>
              <a:gd name="connsiteX13" fmla="*/ 8901800 w 12191999"/>
              <a:gd name="connsiteY13" fmla="*/ 3065651 h 6858001"/>
              <a:gd name="connsiteX14" fmla="*/ 8849051 w 12191999"/>
              <a:gd name="connsiteY14" fmla="*/ 3092218 h 6858001"/>
              <a:gd name="connsiteX15" fmla="*/ 8835862 w 12191999"/>
              <a:gd name="connsiteY15" fmla="*/ 3065844 h 6858001"/>
              <a:gd name="connsiteX16" fmla="*/ 8848858 w 12191999"/>
              <a:gd name="connsiteY16" fmla="*/ 3039466 h 6858001"/>
              <a:gd name="connsiteX17" fmla="*/ 9928744 w 12191999"/>
              <a:gd name="connsiteY17" fmla="*/ 136047 h 6858001"/>
              <a:gd name="connsiteX18" fmla="*/ 0 w 12191999"/>
              <a:gd name="connsiteY18" fmla="*/ 0 h 6858001"/>
              <a:gd name="connsiteX19" fmla="*/ 8524326 w 12191999"/>
              <a:gd name="connsiteY19" fmla="*/ 0 h 6858001"/>
              <a:gd name="connsiteX20" fmla="*/ 8358239 w 12191999"/>
              <a:gd name="connsiteY20" fmla="*/ 358554 h 6858001"/>
              <a:gd name="connsiteX21" fmla="*/ 8182024 w 12191999"/>
              <a:gd name="connsiteY21" fmla="*/ 801561 h 6858001"/>
              <a:gd name="connsiteX22" fmla="*/ 7106740 w 12191999"/>
              <a:gd name="connsiteY22" fmla="*/ 5918991 h 6858001"/>
              <a:gd name="connsiteX23" fmla="*/ 7167886 w 12191999"/>
              <a:gd name="connsiteY23" fmla="*/ 6821267 h 6858001"/>
              <a:gd name="connsiteX24" fmla="*/ 7174068 w 12191999"/>
              <a:gd name="connsiteY24" fmla="*/ 6858000 h 6858001"/>
              <a:gd name="connsiteX25" fmla="*/ 0 w 12191999"/>
              <a:gd name="connsiteY25" fmla="*/ 6858000 h 6858001"/>
              <a:gd name="connsiteX26" fmla="*/ 12191997 w 12191999"/>
              <a:gd name="connsiteY26" fmla="*/ 0 h 6858001"/>
              <a:gd name="connsiteX27" fmla="*/ 12191999 w 12191999"/>
              <a:gd name="connsiteY27" fmla="*/ 0 h 6858001"/>
              <a:gd name="connsiteX28" fmla="*/ 12191999 w 12191999"/>
              <a:gd name="connsiteY28" fmla="*/ 6391986 h 6858001"/>
              <a:gd name="connsiteX29" fmla="*/ 12147315 w 12191999"/>
              <a:gd name="connsiteY29" fmla="*/ 6604731 h 6858001"/>
              <a:gd name="connsiteX30" fmla="*/ 12101825 w 12191999"/>
              <a:gd name="connsiteY30" fmla="*/ 6858000 h 6858001"/>
              <a:gd name="connsiteX31" fmla="*/ 12101823 w 12191999"/>
              <a:gd name="connsiteY31" fmla="*/ 6858000 h 6858001"/>
              <a:gd name="connsiteX32" fmla="*/ 12147313 w 12191999"/>
              <a:gd name="connsiteY32" fmla="*/ 6604731 h 6858001"/>
              <a:gd name="connsiteX33" fmla="*/ 12191997 w 12191999"/>
              <a:gd name="connsiteY33" fmla="*/ 6391986 h 6858001"/>
              <a:gd name="connsiteX34" fmla="*/ 12191997 w 12191999"/>
              <a:gd name="connsiteY34" fmla="*/ 3161904 h 6858001"/>
              <a:gd name="connsiteX35" fmla="*/ 12181717 w 12191999"/>
              <a:gd name="connsiteY35" fmla="*/ 3148611 h 6858001"/>
              <a:gd name="connsiteX36" fmla="*/ 11629187 w 12191999"/>
              <a:gd name="connsiteY36" fmla="*/ 2897654 h 6858001"/>
              <a:gd name="connsiteX37" fmla="*/ 10079336 w 12191999"/>
              <a:gd name="connsiteY37" fmla="*/ 4339900 h 6858001"/>
              <a:gd name="connsiteX38" fmla="*/ 9428546 w 12191999"/>
              <a:gd name="connsiteY38" fmla="*/ 6569394 h 6858001"/>
              <a:gd name="connsiteX39" fmla="*/ 9392062 w 12191999"/>
              <a:gd name="connsiteY39" fmla="*/ 6756138 h 6858001"/>
              <a:gd name="connsiteX40" fmla="*/ 9370421 w 12191999"/>
              <a:gd name="connsiteY40" fmla="*/ 6858000 h 6858001"/>
              <a:gd name="connsiteX41" fmla="*/ 8503891 w 12191999"/>
              <a:gd name="connsiteY41" fmla="*/ 6858000 h 6858001"/>
              <a:gd name="connsiteX42" fmla="*/ 8493864 w 12191999"/>
              <a:gd name="connsiteY42" fmla="*/ 6814873 h 6858001"/>
              <a:gd name="connsiteX43" fmla="*/ 8424939 w 12191999"/>
              <a:gd name="connsiteY43" fmla="*/ 5966770 h 6858001"/>
              <a:gd name="connsiteX44" fmla="*/ 8628487 w 12191999"/>
              <a:gd name="connsiteY44" fmla="*/ 3975995 h 6858001"/>
              <a:gd name="connsiteX45" fmla="*/ 8733417 w 12191999"/>
              <a:gd name="connsiteY45" fmla="*/ 3817358 h 6858001"/>
              <a:gd name="connsiteX46" fmla="*/ 11845159 w 12191999"/>
              <a:gd name="connsiteY46" fmla="*/ 656307 h 6858001"/>
              <a:gd name="connsiteX47" fmla="*/ 12039981 w 12191999"/>
              <a:gd name="connsiteY47" fmla="*/ 379343 h 6858001"/>
              <a:gd name="connsiteX48" fmla="*/ 12191997 w 12191999"/>
              <a:gd name="connsiteY48" fmla="*/ 14724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2191999" h="6858001">
                <a:moveTo>
                  <a:pt x="11262989" y="3649930"/>
                </a:moveTo>
                <a:cubicBezTo>
                  <a:pt x="11289175" y="3649930"/>
                  <a:pt x="11289367" y="3689494"/>
                  <a:pt x="11289557" y="3742053"/>
                </a:cubicBezTo>
                <a:cubicBezTo>
                  <a:pt x="11252671" y="4427626"/>
                  <a:pt x="11187877" y="4770509"/>
                  <a:pt x="11058675" y="5456271"/>
                </a:cubicBezTo>
                <a:cubicBezTo>
                  <a:pt x="10974483" y="5865189"/>
                  <a:pt x="10877249" y="6297184"/>
                  <a:pt x="10801467" y="6740623"/>
                </a:cubicBezTo>
                <a:lnTo>
                  <a:pt x="10783126" y="6858001"/>
                </a:lnTo>
                <a:lnTo>
                  <a:pt x="9920828" y="6858001"/>
                </a:lnTo>
                <a:lnTo>
                  <a:pt x="10023315" y="6372675"/>
                </a:lnTo>
                <a:cubicBezTo>
                  <a:pt x="10058939" y="6199565"/>
                  <a:pt x="10095396" y="6026452"/>
                  <a:pt x="10137635" y="5854963"/>
                </a:cubicBezTo>
                <a:cubicBezTo>
                  <a:pt x="10332203" y="5010753"/>
                  <a:pt x="10645650" y="4297852"/>
                  <a:pt x="11170867" y="3716251"/>
                </a:cubicBezTo>
                <a:cubicBezTo>
                  <a:pt x="11210241" y="3676305"/>
                  <a:pt x="11236809" y="3649930"/>
                  <a:pt x="11262989" y="3649930"/>
                </a:cubicBezTo>
                <a:close/>
                <a:moveTo>
                  <a:pt x="10013108" y="1"/>
                </a:moveTo>
                <a:lnTo>
                  <a:pt x="11513123" y="1"/>
                </a:lnTo>
                <a:lnTo>
                  <a:pt x="11375667" y="242204"/>
                </a:lnTo>
                <a:cubicBezTo>
                  <a:pt x="10719010" y="1351000"/>
                  <a:pt x="9855550" y="2162743"/>
                  <a:pt x="8901800" y="3065651"/>
                </a:cubicBezTo>
                <a:cubicBezTo>
                  <a:pt x="8888421" y="3079029"/>
                  <a:pt x="8875426" y="3092218"/>
                  <a:pt x="8849051" y="3092218"/>
                </a:cubicBezTo>
                <a:lnTo>
                  <a:pt x="8835862" y="3065844"/>
                </a:lnTo>
                <a:lnTo>
                  <a:pt x="8848858" y="3039466"/>
                </a:lnTo>
                <a:cubicBezTo>
                  <a:pt x="9099043" y="2060013"/>
                  <a:pt x="9398823" y="1036745"/>
                  <a:pt x="9928744" y="136047"/>
                </a:cubicBezTo>
                <a:close/>
                <a:moveTo>
                  <a:pt x="0" y="0"/>
                </a:moveTo>
                <a:lnTo>
                  <a:pt x="8524326" y="0"/>
                </a:lnTo>
                <a:lnTo>
                  <a:pt x="8358239" y="358554"/>
                </a:lnTo>
                <a:cubicBezTo>
                  <a:pt x="8294613" y="506688"/>
                  <a:pt x="8235850" y="654752"/>
                  <a:pt x="8182024" y="801561"/>
                </a:cubicBezTo>
                <a:cubicBezTo>
                  <a:pt x="7620684" y="2306117"/>
                  <a:pt x="7100433" y="4179350"/>
                  <a:pt x="7106740" y="5918991"/>
                </a:cubicBezTo>
                <a:cubicBezTo>
                  <a:pt x="7107697" y="6190809"/>
                  <a:pt x="7121700" y="6506340"/>
                  <a:pt x="7167886" y="6821267"/>
                </a:cubicBezTo>
                <a:lnTo>
                  <a:pt x="7174068" y="6858000"/>
                </a:lnTo>
                <a:lnTo>
                  <a:pt x="0" y="6858000"/>
                </a:lnTo>
                <a:close/>
                <a:moveTo>
                  <a:pt x="12191997" y="0"/>
                </a:moveTo>
                <a:lnTo>
                  <a:pt x="12191999" y="0"/>
                </a:lnTo>
                <a:lnTo>
                  <a:pt x="12191999" y="6391986"/>
                </a:lnTo>
                <a:lnTo>
                  <a:pt x="12147315" y="6604731"/>
                </a:lnTo>
                <a:lnTo>
                  <a:pt x="12101825" y="6858000"/>
                </a:lnTo>
                <a:lnTo>
                  <a:pt x="12101823" y="6858000"/>
                </a:lnTo>
                <a:lnTo>
                  <a:pt x="12147313" y="6604731"/>
                </a:lnTo>
                <a:lnTo>
                  <a:pt x="12191997" y="6391986"/>
                </a:lnTo>
                <a:lnTo>
                  <a:pt x="12191997" y="3161904"/>
                </a:lnTo>
                <a:lnTo>
                  <a:pt x="12181717" y="3148611"/>
                </a:lnTo>
                <a:cubicBezTo>
                  <a:pt x="12044071" y="2990650"/>
                  <a:pt x="11861475" y="2896795"/>
                  <a:pt x="11629187" y="2897654"/>
                </a:cubicBezTo>
                <a:cubicBezTo>
                  <a:pt x="10891243" y="2926706"/>
                  <a:pt x="10366788" y="3653562"/>
                  <a:pt x="10079336" y="4339900"/>
                </a:cubicBezTo>
                <a:cubicBezTo>
                  <a:pt x="9752505" y="5052801"/>
                  <a:pt x="9544370" y="5804698"/>
                  <a:pt x="9428546" y="6569394"/>
                </a:cubicBezTo>
                <a:cubicBezTo>
                  <a:pt x="9417222" y="6628740"/>
                  <a:pt x="9405089" y="6691588"/>
                  <a:pt x="9392062" y="6756138"/>
                </a:cubicBezTo>
                <a:lnTo>
                  <a:pt x="9370421" y="6858000"/>
                </a:lnTo>
                <a:lnTo>
                  <a:pt x="8503891" y="6858000"/>
                </a:lnTo>
                <a:lnTo>
                  <a:pt x="8493864" y="6814873"/>
                </a:lnTo>
                <a:cubicBezTo>
                  <a:pt x="8446871" y="6572882"/>
                  <a:pt x="8432776" y="6315960"/>
                  <a:pt x="8424939" y="5966770"/>
                </a:cubicBezTo>
                <a:cubicBezTo>
                  <a:pt x="8422454" y="5307765"/>
                  <a:pt x="8499096" y="4635571"/>
                  <a:pt x="8628487" y="3975995"/>
                </a:cubicBezTo>
                <a:cubicBezTo>
                  <a:pt x="8641487" y="3910053"/>
                  <a:pt x="8667479" y="3857304"/>
                  <a:pt x="8733417" y="3817358"/>
                </a:cubicBezTo>
                <a:cubicBezTo>
                  <a:pt x="9797232" y="2877969"/>
                  <a:pt x="10861425" y="1951382"/>
                  <a:pt x="11845159" y="656307"/>
                </a:cubicBezTo>
                <a:cubicBezTo>
                  <a:pt x="11914013" y="560505"/>
                  <a:pt x="11978963" y="468629"/>
                  <a:pt x="12039981" y="379343"/>
                </a:cubicBezTo>
                <a:lnTo>
                  <a:pt x="12191997" y="1472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6E9DEA9B-625B-FF05-FB58-26962F8477B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106684" y="0"/>
            <a:ext cx="5085316" cy="6858000"/>
          </a:xfrm>
          <a:custGeom>
            <a:avLst/>
            <a:gdLst>
              <a:gd name="connsiteX0" fmla="*/ 5085316 w 5085316"/>
              <a:gd name="connsiteY0" fmla="*/ 6391986 h 6858000"/>
              <a:gd name="connsiteX1" fmla="*/ 5085316 w 5085316"/>
              <a:gd name="connsiteY1" fmla="*/ 6858000 h 6858000"/>
              <a:gd name="connsiteX2" fmla="*/ 4995142 w 5085316"/>
              <a:gd name="connsiteY2" fmla="*/ 6858000 h 6858000"/>
              <a:gd name="connsiteX3" fmla="*/ 5040632 w 5085316"/>
              <a:gd name="connsiteY3" fmla="*/ 6604731 h 6858000"/>
              <a:gd name="connsiteX4" fmla="*/ 4522504 w 5085316"/>
              <a:gd name="connsiteY4" fmla="*/ 2897654 h 6858000"/>
              <a:gd name="connsiteX5" fmla="*/ 5075034 w 5085316"/>
              <a:gd name="connsiteY5" fmla="*/ 3148611 h 6858000"/>
              <a:gd name="connsiteX6" fmla="*/ 5085314 w 5085316"/>
              <a:gd name="connsiteY6" fmla="*/ 3161904 h 6858000"/>
              <a:gd name="connsiteX7" fmla="*/ 5085314 w 5085316"/>
              <a:gd name="connsiteY7" fmla="*/ 6391986 h 6858000"/>
              <a:gd name="connsiteX8" fmla="*/ 5040630 w 5085316"/>
              <a:gd name="connsiteY8" fmla="*/ 6604731 h 6858000"/>
              <a:gd name="connsiteX9" fmla="*/ 4995140 w 5085316"/>
              <a:gd name="connsiteY9" fmla="*/ 6858000 h 6858000"/>
              <a:gd name="connsiteX10" fmla="*/ 3676443 w 5085316"/>
              <a:gd name="connsiteY10" fmla="*/ 6858000 h 6858000"/>
              <a:gd name="connsiteX11" fmla="*/ 3694784 w 5085316"/>
              <a:gd name="connsiteY11" fmla="*/ 6740622 h 6858000"/>
              <a:gd name="connsiteX12" fmla="*/ 3951992 w 5085316"/>
              <a:gd name="connsiteY12" fmla="*/ 5456270 h 6858000"/>
              <a:gd name="connsiteX13" fmla="*/ 4182874 w 5085316"/>
              <a:gd name="connsiteY13" fmla="*/ 3742052 h 6858000"/>
              <a:gd name="connsiteX14" fmla="*/ 4156306 w 5085316"/>
              <a:gd name="connsiteY14" fmla="*/ 3649929 h 6858000"/>
              <a:gd name="connsiteX15" fmla="*/ 4064184 w 5085316"/>
              <a:gd name="connsiteY15" fmla="*/ 3716250 h 6858000"/>
              <a:gd name="connsiteX16" fmla="*/ 3030952 w 5085316"/>
              <a:gd name="connsiteY16" fmla="*/ 5854962 h 6858000"/>
              <a:gd name="connsiteX17" fmla="*/ 2916632 w 5085316"/>
              <a:gd name="connsiteY17" fmla="*/ 6372674 h 6858000"/>
              <a:gd name="connsiteX18" fmla="*/ 2814145 w 5085316"/>
              <a:gd name="connsiteY18" fmla="*/ 6858000 h 6858000"/>
              <a:gd name="connsiteX19" fmla="*/ 2263738 w 5085316"/>
              <a:gd name="connsiteY19" fmla="*/ 6858000 h 6858000"/>
              <a:gd name="connsiteX20" fmla="*/ 2285379 w 5085316"/>
              <a:gd name="connsiteY20" fmla="*/ 6756138 h 6858000"/>
              <a:gd name="connsiteX21" fmla="*/ 2321863 w 5085316"/>
              <a:gd name="connsiteY21" fmla="*/ 6569394 h 6858000"/>
              <a:gd name="connsiteX22" fmla="*/ 2972653 w 5085316"/>
              <a:gd name="connsiteY22" fmla="*/ 4339900 h 6858000"/>
              <a:gd name="connsiteX23" fmla="*/ 4522504 w 5085316"/>
              <a:gd name="connsiteY23" fmla="*/ 2897654 h 6858000"/>
              <a:gd name="connsiteX24" fmla="*/ 1417643 w 5085316"/>
              <a:gd name="connsiteY24" fmla="*/ 0 h 6858000"/>
              <a:gd name="connsiteX25" fmla="*/ 2906425 w 5085316"/>
              <a:gd name="connsiteY25" fmla="*/ 0 h 6858000"/>
              <a:gd name="connsiteX26" fmla="*/ 2822061 w 5085316"/>
              <a:gd name="connsiteY26" fmla="*/ 136046 h 6858000"/>
              <a:gd name="connsiteX27" fmla="*/ 1742175 w 5085316"/>
              <a:gd name="connsiteY27" fmla="*/ 3039465 h 6858000"/>
              <a:gd name="connsiteX28" fmla="*/ 1729179 w 5085316"/>
              <a:gd name="connsiteY28" fmla="*/ 3065843 h 6858000"/>
              <a:gd name="connsiteX29" fmla="*/ 1742368 w 5085316"/>
              <a:gd name="connsiteY29" fmla="*/ 3092217 h 6858000"/>
              <a:gd name="connsiteX30" fmla="*/ 1795117 w 5085316"/>
              <a:gd name="connsiteY30" fmla="*/ 3065650 h 6858000"/>
              <a:gd name="connsiteX31" fmla="*/ 4268984 w 5085316"/>
              <a:gd name="connsiteY31" fmla="*/ 242203 h 6858000"/>
              <a:gd name="connsiteX32" fmla="*/ 4406440 w 5085316"/>
              <a:gd name="connsiteY32" fmla="*/ 0 h 6858000"/>
              <a:gd name="connsiteX33" fmla="*/ 5085314 w 5085316"/>
              <a:gd name="connsiteY33" fmla="*/ 0 h 6858000"/>
              <a:gd name="connsiteX34" fmla="*/ 5085314 w 5085316"/>
              <a:gd name="connsiteY34" fmla="*/ 147240 h 6858000"/>
              <a:gd name="connsiteX35" fmla="*/ 4933298 w 5085316"/>
              <a:gd name="connsiteY35" fmla="*/ 379343 h 6858000"/>
              <a:gd name="connsiteX36" fmla="*/ 4738476 w 5085316"/>
              <a:gd name="connsiteY36" fmla="*/ 656307 h 6858000"/>
              <a:gd name="connsiteX37" fmla="*/ 1626734 w 5085316"/>
              <a:gd name="connsiteY37" fmla="*/ 3817358 h 6858000"/>
              <a:gd name="connsiteX38" fmla="*/ 1521804 w 5085316"/>
              <a:gd name="connsiteY38" fmla="*/ 3975995 h 6858000"/>
              <a:gd name="connsiteX39" fmla="*/ 1318256 w 5085316"/>
              <a:gd name="connsiteY39" fmla="*/ 5966770 h 6858000"/>
              <a:gd name="connsiteX40" fmla="*/ 1387181 w 5085316"/>
              <a:gd name="connsiteY40" fmla="*/ 6814873 h 6858000"/>
              <a:gd name="connsiteX41" fmla="*/ 1397208 w 5085316"/>
              <a:gd name="connsiteY41" fmla="*/ 6858000 h 6858000"/>
              <a:gd name="connsiteX42" fmla="*/ 67385 w 5085316"/>
              <a:gd name="connsiteY42" fmla="*/ 6858000 h 6858000"/>
              <a:gd name="connsiteX43" fmla="*/ 61203 w 5085316"/>
              <a:gd name="connsiteY43" fmla="*/ 6821267 h 6858000"/>
              <a:gd name="connsiteX44" fmla="*/ 57 w 5085316"/>
              <a:gd name="connsiteY44" fmla="*/ 5918991 h 6858000"/>
              <a:gd name="connsiteX45" fmla="*/ 1075341 w 5085316"/>
              <a:gd name="connsiteY45" fmla="*/ 801561 h 6858000"/>
              <a:gd name="connsiteX46" fmla="*/ 1251556 w 5085316"/>
              <a:gd name="connsiteY46" fmla="*/ 35855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5085316" h="6858000">
                <a:moveTo>
                  <a:pt x="5085316" y="6391986"/>
                </a:moveTo>
                <a:lnTo>
                  <a:pt x="5085316" y="6858000"/>
                </a:lnTo>
                <a:lnTo>
                  <a:pt x="4995142" y="6858000"/>
                </a:lnTo>
                <a:lnTo>
                  <a:pt x="5040632" y="6604731"/>
                </a:lnTo>
                <a:close/>
                <a:moveTo>
                  <a:pt x="4522504" y="2897654"/>
                </a:moveTo>
                <a:cubicBezTo>
                  <a:pt x="4754792" y="2896795"/>
                  <a:pt x="4937388" y="2990650"/>
                  <a:pt x="5075034" y="3148611"/>
                </a:cubicBezTo>
                <a:lnTo>
                  <a:pt x="5085314" y="3161904"/>
                </a:lnTo>
                <a:lnTo>
                  <a:pt x="5085314" y="6391986"/>
                </a:lnTo>
                <a:lnTo>
                  <a:pt x="5040630" y="6604731"/>
                </a:lnTo>
                <a:lnTo>
                  <a:pt x="4995140" y="6858000"/>
                </a:lnTo>
                <a:lnTo>
                  <a:pt x="3676443" y="6858000"/>
                </a:lnTo>
                <a:lnTo>
                  <a:pt x="3694784" y="6740622"/>
                </a:lnTo>
                <a:cubicBezTo>
                  <a:pt x="3770566" y="6297183"/>
                  <a:pt x="3867800" y="5865188"/>
                  <a:pt x="3951992" y="5456270"/>
                </a:cubicBezTo>
                <a:cubicBezTo>
                  <a:pt x="4081194" y="4770508"/>
                  <a:pt x="4145988" y="4427625"/>
                  <a:pt x="4182874" y="3742052"/>
                </a:cubicBezTo>
                <a:cubicBezTo>
                  <a:pt x="4182684" y="3689493"/>
                  <a:pt x="4182492" y="3649929"/>
                  <a:pt x="4156306" y="3649929"/>
                </a:cubicBezTo>
                <a:cubicBezTo>
                  <a:pt x="4130126" y="3649929"/>
                  <a:pt x="4103558" y="3676304"/>
                  <a:pt x="4064184" y="3716250"/>
                </a:cubicBezTo>
                <a:cubicBezTo>
                  <a:pt x="3538967" y="4297851"/>
                  <a:pt x="3225520" y="5010752"/>
                  <a:pt x="3030952" y="5854962"/>
                </a:cubicBezTo>
                <a:cubicBezTo>
                  <a:pt x="2988713" y="6026451"/>
                  <a:pt x="2952256" y="6199564"/>
                  <a:pt x="2916632" y="6372674"/>
                </a:cubicBezTo>
                <a:lnTo>
                  <a:pt x="2814145" y="6858000"/>
                </a:lnTo>
                <a:lnTo>
                  <a:pt x="2263738" y="6858000"/>
                </a:lnTo>
                <a:lnTo>
                  <a:pt x="2285379" y="6756138"/>
                </a:lnTo>
                <a:cubicBezTo>
                  <a:pt x="2298406" y="6691588"/>
                  <a:pt x="2310539" y="6628740"/>
                  <a:pt x="2321863" y="6569394"/>
                </a:cubicBezTo>
                <a:cubicBezTo>
                  <a:pt x="2437687" y="5804698"/>
                  <a:pt x="2645822" y="5052801"/>
                  <a:pt x="2972653" y="4339900"/>
                </a:cubicBezTo>
                <a:cubicBezTo>
                  <a:pt x="3260105" y="3653562"/>
                  <a:pt x="3784560" y="2926706"/>
                  <a:pt x="4522504" y="2897654"/>
                </a:cubicBezTo>
                <a:close/>
                <a:moveTo>
                  <a:pt x="1417643" y="0"/>
                </a:moveTo>
                <a:lnTo>
                  <a:pt x="2906425" y="0"/>
                </a:lnTo>
                <a:lnTo>
                  <a:pt x="2822061" y="136046"/>
                </a:lnTo>
                <a:cubicBezTo>
                  <a:pt x="2292140" y="1036744"/>
                  <a:pt x="1992360" y="2060012"/>
                  <a:pt x="1742175" y="3039465"/>
                </a:cubicBezTo>
                <a:lnTo>
                  <a:pt x="1729179" y="3065843"/>
                </a:lnTo>
                <a:lnTo>
                  <a:pt x="1742368" y="3092217"/>
                </a:lnTo>
                <a:cubicBezTo>
                  <a:pt x="1768743" y="3092217"/>
                  <a:pt x="1781738" y="3079028"/>
                  <a:pt x="1795117" y="3065650"/>
                </a:cubicBezTo>
                <a:cubicBezTo>
                  <a:pt x="2748867" y="2162742"/>
                  <a:pt x="3612327" y="1350999"/>
                  <a:pt x="4268984" y="242203"/>
                </a:cubicBezTo>
                <a:lnTo>
                  <a:pt x="4406440" y="0"/>
                </a:lnTo>
                <a:lnTo>
                  <a:pt x="5085314" y="0"/>
                </a:lnTo>
                <a:lnTo>
                  <a:pt x="5085314" y="147240"/>
                </a:lnTo>
                <a:lnTo>
                  <a:pt x="4933298" y="379343"/>
                </a:lnTo>
                <a:cubicBezTo>
                  <a:pt x="4872280" y="468629"/>
                  <a:pt x="4807330" y="560505"/>
                  <a:pt x="4738476" y="656307"/>
                </a:cubicBezTo>
                <a:cubicBezTo>
                  <a:pt x="3754742" y="1951382"/>
                  <a:pt x="2690549" y="2877969"/>
                  <a:pt x="1626734" y="3817358"/>
                </a:cubicBezTo>
                <a:cubicBezTo>
                  <a:pt x="1560796" y="3857304"/>
                  <a:pt x="1534804" y="3910053"/>
                  <a:pt x="1521804" y="3975995"/>
                </a:cubicBezTo>
                <a:cubicBezTo>
                  <a:pt x="1392413" y="4635571"/>
                  <a:pt x="1315771" y="5307765"/>
                  <a:pt x="1318256" y="5966770"/>
                </a:cubicBezTo>
                <a:cubicBezTo>
                  <a:pt x="1326093" y="6315960"/>
                  <a:pt x="1340188" y="6572882"/>
                  <a:pt x="1387181" y="6814873"/>
                </a:cubicBezTo>
                <a:lnTo>
                  <a:pt x="1397208" y="6858000"/>
                </a:lnTo>
                <a:lnTo>
                  <a:pt x="67385" y="6858000"/>
                </a:lnTo>
                <a:lnTo>
                  <a:pt x="61203" y="6821267"/>
                </a:lnTo>
                <a:cubicBezTo>
                  <a:pt x="15017" y="6506340"/>
                  <a:pt x="1014" y="6190809"/>
                  <a:pt x="57" y="5918991"/>
                </a:cubicBezTo>
                <a:cubicBezTo>
                  <a:pt x="-6250" y="4179350"/>
                  <a:pt x="514001" y="2306117"/>
                  <a:pt x="1075341" y="801561"/>
                </a:cubicBezTo>
                <a:cubicBezTo>
                  <a:pt x="1129167" y="654752"/>
                  <a:pt x="1187930" y="506688"/>
                  <a:pt x="1251556" y="358554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0183B35-E8E5-D8B1-512C-F1D1BCA30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7650" y="604491"/>
            <a:ext cx="1910750" cy="456671"/>
          </a:xfrm>
          <a:prstGeom prst="rect">
            <a:avLst/>
          </a:prstGeom>
        </p:spPr>
      </p:pic>
      <p:sp>
        <p:nvSpPr>
          <p:cNvPr id="13" name="Subtitle 2">
            <a:extLst>
              <a:ext uri="{FF2B5EF4-FFF2-40B4-BE49-F238E27FC236}">
                <a16:creationId xmlns:a16="http://schemas.microsoft.com/office/drawing/2014/main" id="{F4BAC6E8-70D6-03EB-2CF9-73EF399350E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17" y="4359254"/>
            <a:ext cx="8548255" cy="1300978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PK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BADFC970-AC73-A3EA-1D39-CD87A3E84E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939" y="1963717"/>
            <a:ext cx="8570188" cy="2305087"/>
          </a:xfrm>
          <a:prstGeom prst="rect">
            <a:avLst/>
          </a:prstGeom>
        </p:spPr>
        <p:txBody>
          <a:bodyPr lIns="0" tIns="46800" rIns="0" anchor="b">
            <a:noAutofit/>
          </a:bodyPr>
          <a:lstStyle>
            <a:lvl1pPr algn="l">
              <a:lnSpc>
                <a:spcPct val="60000"/>
              </a:lnSpc>
              <a:defRPr sz="7200">
                <a:solidFill>
                  <a:schemeClr val="bg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2555996794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BF429B15-5519-2C6F-8527-46195F599056}"/>
              </a:ext>
            </a:extLst>
          </p:cNvPr>
          <p:cNvSpPr/>
          <p:nvPr userDrawn="1"/>
        </p:nvSpPr>
        <p:spPr>
          <a:xfrm>
            <a:off x="0" y="0"/>
            <a:ext cx="6092561" cy="6858000"/>
          </a:xfrm>
          <a:prstGeom prst="rect">
            <a:avLst/>
          </a:prstGeom>
          <a:gradFill>
            <a:gsLst>
              <a:gs pos="0">
                <a:srgbClr val="1C4C94">
                  <a:alpha val="70000"/>
                </a:srgbClr>
              </a:gs>
              <a:gs pos="99000">
                <a:srgbClr val="0379A8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692138C-F37F-2F37-65DB-69914887707D}"/>
              </a:ext>
            </a:extLst>
          </p:cNvPr>
          <p:cNvSpPr/>
          <p:nvPr userDrawn="1"/>
        </p:nvSpPr>
        <p:spPr>
          <a:xfrm>
            <a:off x="0" y="0"/>
            <a:ext cx="6099442" cy="6858000"/>
          </a:xfrm>
          <a:prstGeom prst="rect">
            <a:avLst/>
          </a:prstGeom>
          <a:gradFill>
            <a:gsLst>
              <a:gs pos="1000">
                <a:srgbClr val="1D6095"/>
              </a:gs>
              <a:gs pos="99000">
                <a:srgbClr val="0178A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8E6C4B41-FEE4-42EF-A4CC-5B1AE1E762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577045" y="1165758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l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A6FACAB6-E88A-4795-0E3C-514F7C66F79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77045" y="2837142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42" name="Text Placeholder 17">
            <a:extLst>
              <a:ext uri="{FF2B5EF4-FFF2-40B4-BE49-F238E27FC236}">
                <a16:creationId xmlns:a16="http://schemas.microsoft.com/office/drawing/2014/main" id="{0B0C0BEB-8A1B-E15D-157E-0CCEE4D2003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77045" y="4508526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570727D9-B007-1628-E384-0F12A1A124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53529" y="421909"/>
            <a:ext cx="1209635" cy="28910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8EA7766-11D0-FB4F-3D4D-55C0A5320C37}"/>
              </a:ext>
            </a:extLst>
          </p:cNvPr>
          <p:cNvCxnSpPr>
            <a:cxnSpLocks/>
          </p:cNvCxnSpPr>
          <p:nvPr userDrawn="1"/>
        </p:nvCxnSpPr>
        <p:spPr>
          <a:xfrm>
            <a:off x="7091397" y="934654"/>
            <a:ext cx="0" cy="5163773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80EBD3A1-38D1-9A23-195C-0A5F57D17AE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77045" y="2001450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E4E24B4A-0856-85DE-C580-CD81393B163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77045" y="3672834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C57F6E4D-88BC-6C59-16E3-1336C1BDBFD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577045" y="5344219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8F2D4774-7A19-26FE-BAFE-61D47E15EE48}"/>
              </a:ext>
            </a:extLst>
          </p:cNvPr>
          <p:cNvSpPr>
            <a:spLocks noGrp="1" noChangeAspect="1"/>
          </p:cNvSpPr>
          <p:nvPr>
            <p:ph type="body" sz="quarter" idx="45" hasCustomPrompt="1"/>
          </p:nvPr>
        </p:nvSpPr>
        <p:spPr>
          <a:xfrm>
            <a:off x="6821780" y="1165758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66F826E9-C23B-16A3-0473-812F0CA37F89}"/>
              </a:ext>
            </a:extLst>
          </p:cNvPr>
          <p:cNvSpPr>
            <a:spLocks noGrp="1" noChangeAspect="1"/>
          </p:cNvSpPr>
          <p:nvPr>
            <p:ph type="body" sz="quarter" idx="46" hasCustomPrompt="1"/>
          </p:nvPr>
        </p:nvSpPr>
        <p:spPr>
          <a:xfrm>
            <a:off x="6821780" y="2001450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3D62A798-8AD2-3E28-1217-DBCFF358AAAC}"/>
              </a:ext>
            </a:extLst>
          </p:cNvPr>
          <p:cNvSpPr>
            <a:spLocks noGrp="1" noChangeAspect="1"/>
          </p:cNvSpPr>
          <p:nvPr>
            <p:ph type="body" sz="quarter" idx="47" hasCustomPrompt="1"/>
          </p:nvPr>
        </p:nvSpPr>
        <p:spPr>
          <a:xfrm>
            <a:off x="6821780" y="2837142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0C8DB805-D6AA-DC93-16E5-14A7CE0A20E4}"/>
              </a:ext>
            </a:extLst>
          </p:cNvPr>
          <p:cNvSpPr>
            <a:spLocks noGrp="1" noChangeAspect="1"/>
          </p:cNvSpPr>
          <p:nvPr>
            <p:ph type="body" sz="quarter" idx="48" hasCustomPrompt="1"/>
          </p:nvPr>
        </p:nvSpPr>
        <p:spPr>
          <a:xfrm>
            <a:off x="6821780" y="3672834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733E2632-6408-C1B1-0197-81EC8778BC93}"/>
              </a:ext>
            </a:extLst>
          </p:cNvPr>
          <p:cNvSpPr>
            <a:spLocks noGrp="1" noChangeAspect="1"/>
          </p:cNvSpPr>
          <p:nvPr>
            <p:ph type="body" sz="quarter" idx="49" hasCustomPrompt="1"/>
          </p:nvPr>
        </p:nvSpPr>
        <p:spPr>
          <a:xfrm>
            <a:off x="6821780" y="4508526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F2A22727-D956-DE93-AEE0-A5BD5D55394D}"/>
              </a:ext>
            </a:extLst>
          </p:cNvPr>
          <p:cNvSpPr>
            <a:spLocks noGrp="1" noChangeAspect="1"/>
          </p:cNvSpPr>
          <p:nvPr>
            <p:ph type="body" sz="quarter" idx="50" hasCustomPrompt="1"/>
          </p:nvPr>
        </p:nvSpPr>
        <p:spPr>
          <a:xfrm>
            <a:off x="6821780" y="5344219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A589B61-EDFA-D2C7-543D-BDBBB984E9D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0"/>
            <a:ext cx="6099442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C7946B9-62ED-E1C9-D784-738B6CE36A06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0">
                <a:srgbClr val="1C4C94">
                  <a:alpha val="92000"/>
                </a:srgbClr>
              </a:gs>
              <a:gs pos="99000">
                <a:srgbClr val="0379A8">
                  <a:alpha val="75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8AF2802-7DC0-FA3E-81B5-F3CDD924310F}"/>
              </a:ext>
            </a:extLst>
          </p:cNvPr>
          <p:cNvCxnSpPr>
            <a:cxnSpLocks/>
          </p:cNvCxnSpPr>
          <p:nvPr userDrawn="1"/>
        </p:nvCxnSpPr>
        <p:spPr>
          <a:xfrm>
            <a:off x="696693" y="0"/>
            <a:ext cx="0" cy="4849871"/>
          </a:xfrm>
          <a:prstGeom prst="line">
            <a:avLst/>
          </a:prstGeom>
          <a:noFill/>
          <a:ln w="38100" cap="rnd">
            <a:solidFill>
              <a:srgbClr val="F96E46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7" name="Title 1">
            <a:extLst>
              <a:ext uri="{FF2B5EF4-FFF2-40B4-BE49-F238E27FC236}">
                <a16:creationId xmlns:a16="http://schemas.microsoft.com/office/drawing/2014/main" id="{B407A0B8-DA82-9A0D-B74F-959D736A3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3609" y="1782501"/>
            <a:ext cx="3630907" cy="1347842"/>
          </a:xfrm>
          <a:prstGeom prst="rect">
            <a:avLst/>
          </a:prstGeom>
        </p:spPr>
        <p:txBody>
          <a:bodyPr anchor="b"/>
          <a:lstStyle>
            <a:lvl1pPr algn="ctr">
              <a:lnSpc>
                <a:spcPct val="6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078729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pos="4294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E77DDA1B-74C7-53FC-DB6A-6B4642A991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4010" y="6563561"/>
            <a:ext cx="943356" cy="225463"/>
          </a:xfrm>
          <a:prstGeom prst="rect">
            <a:avLst/>
          </a:prstGeom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74E8A60-FE53-3C52-C496-41844D6E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423599"/>
            <a:ext cx="10801351" cy="612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50000"/>
              </a:lnSpc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1F8E5AF-BB68-A390-BD1F-CDC33905502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95325" y="1159668"/>
            <a:ext cx="10801351" cy="5060149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F578AD08-D63F-B38B-1EEA-666BD88C0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86444" y="6566882"/>
            <a:ext cx="226822" cy="224155"/>
          </a:xfrm>
          <a:prstGeom prst="ellipse">
            <a:avLst/>
          </a:prstGeom>
          <a:ln w="19050">
            <a:solidFill>
              <a:schemeClr val="accent5"/>
            </a:solidFill>
          </a:ln>
        </p:spPr>
        <p:txBody>
          <a:bodyPr lIns="0" tIns="0" rIns="0" bIns="0" anchor="ctr"/>
          <a:lstStyle>
            <a:lvl1pPr algn="ctr">
              <a:defRPr sz="1200" b="0">
                <a:solidFill>
                  <a:schemeClr val="bg1"/>
                </a:solidFill>
                <a:latin typeface="+mj-lt"/>
              </a:defRPr>
            </a:lvl1pPr>
          </a:lstStyle>
          <a:p>
            <a:fld id="{809F87CD-0A17-480A-BA0C-CEA734C9A0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86C29C4-CA0E-6BE8-2041-F7271E4580A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816762" y="6556850"/>
            <a:ext cx="3600000" cy="252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NL"/>
              <a:t>Name of your deck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31EBE2DE-0E6C-94A2-FE40-57B5777BF7A4}"/>
              </a:ext>
            </a:extLst>
          </p:cNvPr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1723064" y="6584400"/>
            <a:ext cx="18000" cy="180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NL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8848790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731">
          <p15:clr>
            <a:srgbClr val="FBAE40"/>
          </p15:clr>
        </p15:guide>
        <p15:guide id="2" pos="438">
          <p15:clr>
            <a:srgbClr val="FBAE40"/>
          </p15:clr>
        </p15:guide>
        <p15:guide id="3" pos="7242">
          <p15:clr>
            <a:srgbClr val="FBAE40"/>
          </p15:clr>
        </p15:guide>
        <p15:guide id="4" orient="horz" pos="3929">
          <p15:clr>
            <a:srgbClr val="FBAE40"/>
          </p15:clr>
        </p15:guide>
        <p15:guide id="5" orient="horz" pos="34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BF429B15-5519-2C6F-8527-46195F599056}"/>
              </a:ext>
            </a:extLst>
          </p:cNvPr>
          <p:cNvSpPr/>
          <p:nvPr userDrawn="1"/>
        </p:nvSpPr>
        <p:spPr>
          <a:xfrm>
            <a:off x="6093600" y="0"/>
            <a:ext cx="6098400" cy="6858000"/>
          </a:xfrm>
          <a:prstGeom prst="rect">
            <a:avLst/>
          </a:prstGeom>
          <a:gradFill>
            <a:gsLst>
              <a:gs pos="0">
                <a:schemeClr val="accent2">
                  <a:alpha val="70000"/>
                </a:schemeClr>
              </a:gs>
              <a:gs pos="99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D4C1FD7-76B6-5D88-CDD3-678848765C41}"/>
              </a:ext>
            </a:extLst>
          </p:cNvPr>
          <p:cNvSpPr/>
          <p:nvPr userDrawn="1"/>
        </p:nvSpPr>
        <p:spPr>
          <a:xfrm>
            <a:off x="6092558" y="0"/>
            <a:ext cx="6099442" cy="6858000"/>
          </a:xfrm>
          <a:prstGeom prst="rect">
            <a:avLst/>
          </a:prstGeom>
          <a:gradFill flip="none" rotWithShape="1">
            <a:gsLst>
              <a:gs pos="1000">
                <a:srgbClr val="1D6095"/>
              </a:gs>
              <a:gs pos="99000">
                <a:srgbClr val="0178A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E838168-ECDE-63BE-5F3E-E6CB0C5505D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093600" y="0"/>
            <a:ext cx="60984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69C9A99-CEFD-76C2-DC01-163BC7F302A9}"/>
              </a:ext>
            </a:extLst>
          </p:cNvPr>
          <p:cNvCxnSpPr>
            <a:cxnSpLocks/>
          </p:cNvCxnSpPr>
          <p:nvPr userDrawn="1"/>
        </p:nvCxnSpPr>
        <p:spPr>
          <a:xfrm>
            <a:off x="711430" y="17780"/>
            <a:ext cx="1883224" cy="0"/>
          </a:xfrm>
          <a:prstGeom prst="line">
            <a:avLst/>
          </a:prstGeom>
          <a:noFill/>
          <a:ln w="38100" cap="rnd">
            <a:solidFill>
              <a:srgbClr val="F96E46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A1F54D7-57C0-9678-3F7B-09CAA426C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6" y="417952"/>
            <a:ext cx="4679950" cy="1224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35486DB-DE52-EF36-1742-7F4A290F6F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95290" y="1661354"/>
            <a:ext cx="4679949" cy="4558463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0ADEA059-C729-514C-E678-A9F7A7F1F8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8622" y="6393083"/>
            <a:ext cx="943356" cy="225463"/>
          </a:xfrm>
          <a:prstGeom prst="rect">
            <a:avLst/>
          </a:prstGeom>
        </p:spPr>
      </p:pic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D61050BD-FCC2-0CD2-EDA5-3A2AF8F828FC}"/>
              </a:ext>
            </a:extLst>
          </p:cNvPr>
          <p:cNvSpPr txBox="1">
            <a:spLocks/>
          </p:cNvSpPr>
          <p:nvPr userDrawn="1"/>
        </p:nvSpPr>
        <p:spPr>
          <a:xfrm>
            <a:off x="5184338" y="6396404"/>
            <a:ext cx="226822" cy="224155"/>
          </a:xfrm>
          <a:prstGeom prst="ellipse">
            <a:avLst/>
          </a:prstGeom>
          <a:ln w="19050">
            <a:solidFill>
              <a:schemeClr val="accent5"/>
            </a:solidFill>
          </a:ln>
        </p:spPr>
        <p:txBody>
          <a:bodyPr lIns="0" tIns="0" rIns="0" bIns="0" anchor="ctr"/>
          <a:lstStyle>
            <a:defPPr>
              <a:defRPr lang="en-US"/>
            </a:defPPr>
            <a:lvl1pPr marL="0" algn="ctr" defTabSz="228600" rtl="0" eaLnBrk="1" latinLnBrk="0" hangingPunct="1">
              <a:defRPr sz="12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09F87CD-0A17-480A-BA0C-CEA734C9A086}" type="slidenum">
              <a:rPr lang="en-US" smtClean="0">
                <a:solidFill>
                  <a:schemeClr val="accent1"/>
                </a:solidFill>
              </a:rPr>
              <a:pPr/>
              <a:t>‹nr.›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511CB6A-AC61-D56D-7E38-75FC85D18CF7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1341848"/>
            <a:ext cx="360000" cy="36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402C159-0DF3-218D-3C9E-F184C0556BF5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3412616"/>
            <a:ext cx="360000" cy="36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5F0009B-8A96-C45C-5C26-44B3C7F63F06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1859540"/>
            <a:ext cx="360000" cy="3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C7C1B84-80D9-8EDB-DE33-F1962543F519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2377232"/>
            <a:ext cx="360000" cy="36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16542EE-DF57-EF0C-1A8B-DE107EE2AE2D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2894924"/>
            <a:ext cx="360000" cy="36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6C71E18-6A65-D371-6DA8-98D43AFB6F1D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3930308"/>
            <a:ext cx="360000" cy="36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CDCC81D-5D0B-4F22-A053-C4ADFE21568A}"/>
              </a:ext>
            </a:extLst>
          </p:cNvPr>
          <p:cNvSpPr txBox="1"/>
          <p:nvPr userDrawn="1"/>
        </p:nvSpPr>
        <p:spPr>
          <a:xfrm>
            <a:off x="-2709668" y="1321794"/>
            <a:ext cx="2058824" cy="400110"/>
          </a:xfrm>
          <a:prstGeom prst="rect">
            <a:avLst/>
          </a:prstGeom>
          <a:noFill/>
        </p:spPr>
        <p:txBody>
          <a:bodyPr wrap="none" lIns="36000" rIns="36000" rtlCol="0" anchor="ctr">
            <a:spAutoFit/>
          </a:bodyPr>
          <a:lstStyle/>
          <a:p>
            <a:pPr algn="r"/>
            <a:r>
              <a:rPr lang="en-NL" sz="1000">
                <a:solidFill>
                  <a:schemeClr val="accent5"/>
                </a:solidFill>
              </a:rPr>
              <a:t>Use color for titles</a:t>
            </a:r>
          </a:p>
          <a:p>
            <a:pPr algn="r"/>
            <a:r>
              <a:rPr lang="en-NL" sz="1000">
                <a:solidFill>
                  <a:schemeClr val="accent5"/>
                </a:solidFill>
              </a:rPr>
              <a:t>Font type title: </a:t>
            </a:r>
            <a:r>
              <a:rPr lang="en-GB" sz="1000">
                <a:solidFill>
                  <a:schemeClr val="accent5"/>
                </a:solidFill>
              </a:rPr>
              <a:t>Browallia New, size 44</a:t>
            </a:r>
            <a:endParaRPr lang="en-NL" sz="1000">
              <a:solidFill>
                <a:schemeClr val="accent5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80E8089-B39E-8EC8-5D58-7EA046873B5F}"/>
              </a:ext>
            </a:extLst>
          </p:cNvPr>
          <p:cNvSpPr txBox="1"/>
          <p:nvPr userDrawn="1"/>
        </p:nvSpPr>
        <p:spPr>
          <a:xfrm>
            <a:off x="-2291285" y="3910251"/>
            <a:ext cx="1640441" cy="400110"/>
          </a:xfrm>
          <a:prstGeom prst="rect">
            <a:avLst/>
          </a:prstGeom>
          <a:noFill/>
        </p:spPr>
        <p:txBody>
          <a:bodyPr wrap="none" lIns="36000" rIns="36000" rtlCol="0" anchor="ctr">
            <a:spAutoFit/>
          </a:bodyPr>
          <a:lstStyle/>
          <a:p>
            <a:pPr algn="r"/>
            <a:r>
              <a:rPr lang="en-NL" sz="1000">
                <a:solidFill>
                  <a:schemeClr val="accent5"/>
                </a:solidFill>
              </a:rPr>
              <a:t>Use color for text</a:t>
            </a:r>
          </a:p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NL" sz="1000">
                <a:solidFill>
                  <a:schemeClr val="accent5"/>
                </a:solidFill>
              </a:rPr>
              <a:t>Font type text: Corbel</a:t>
            </a:r>
            <a:r>
              <a:rPr lang="en-GB" sz="1000">
                <a:solidFill>
                  <a:schemeClr val="accent5"/>
                </a:solidFill>
              </a:rPr>
              <a:t>, size 14</a:t>
            </a:r>
            <a:endParaRPr lang="en-NL" sz="1000">
              <a:solidFill>
                <a:schemeClr val="accent5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6747DC8-131A-7763-2F79-F318C3CE708B}"/>
              </a:ext>
            </a:extLst>
          </p:cNvPr>
          <p:cNvSpPr/>
          <p:nvPr userDrawn="1"/>
        </p:nvSpPr>
        <p:spPr>
          <a:xfrm>
            <a:off x="6093600" y="0"/>
            <a:ext cx="6098400" cy="6858000"/>
          </a:xfrm>
          <a:prstGeom prst="rect">
            <a:avLst/>
          </a:prstGeom>
          <a:gradFill>
            <a:gsLst>
              <a:gs pos="0">
                <a:srgbClr val="1C4C94">
                  <a:alpha val="88000"/>
                </a:srgbClr>
              </a:gs>
              <a:gs pos="99000">
                <a:srgbClr val="0379A8">
                  <a:alpha val="59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1311936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3386">
          <p15:clr>
            <a:srgbClr val="FBAE40"/>
          </p15:clr>
        </p15:guide>
        <p15:guide id="5" orient="horz" pos="34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92138C-F37F-2F37-65DB-69914887707D}"/>
              </a:ext>
            </a:extLst>
          </p:cNvPr>
          <p:cNvSpPr/>
          <p:nvPr userDrawn="1"/>
        </p:nvSpPr>
        <p:spPr>
          <a:xfrm>
            <a:off x="0" y="0"/>
            <a:ext cx="6099442" cy="6858000"/>
          </a:xfrm>
          <a:prstGeom prst="rect">
            <a:avLst/>
          </a:prstGeom>
          <a:gradFill>
            <a:gsLst>
              <a:gs pos="1000">
                <a:srgbClr val="1D6095"/>
              </a:gs>
              <a:gs pos="99000">
                <a:srgbClr val="0178A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A589B61-EDFA-D2C7-543D-BDBBB984E9D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0"/>
            <a:ext cx="6099442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F429B15-5519-2C6F-8527-46195F599056}"/>
              </a:ext>
            </a:extLst>
          </p:cNvPr>
          <p:cNvSpPr/>
          <p:nvPr userDrawn="1"/>
        </p:nvSpPr>
        <p:spPr>
          <a:xfrm>
            <a:off x="0" y="0"/>
            <a:ext cx="6098400" cy="6858000"/>
          </a:xfrm>
          <a:prstGeom prst="rect">
            <a:avLst/>
          </a:prstGeom>
          <a:gradFill>
            <a:gsLst>
              <a:gs pos="0">
                <a:srgbClr val="1C4C94">
                  <a:alpha val="70000"/>
                </a:srgbClr>
              </a:gs>
              <a:gs pos="99000">
                <a:srgbClr val="0379A8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A326497-0FDA-04A3-A9C4-D92DD339A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6726" y="417952"/>
            <a:ext cx="4679986" cy="1224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418E937-3933-87E6-D115-0782B4BC8A6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816726" y="1661354"/>
            <a:ext cx="4679950" cy="4558463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D9347A7-FB35-57F2-FA90-08568BF79F99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1341848"/>
            <a:ext cx="360000" cy="36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336033C-2E4B-29F1-0C13-CDC1B8218A3D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3412616"/>
            <a:ext cx="360000" cy="36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1C0FF8A-3C1F-DDA6-6017-F2DC6D677930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1859540"/>
            <a:ext cx="360000" cy="3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5077595-E2AB-5A16-8BB7-DF8F9626E6E5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2377232"/>
            <a:ext cx="360000" cy="36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CF381E7-50F7-4095-2097-AFA74AF4FC92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2894924"/>
            <a:ext cx="360000" cy="36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2FDD880-00B2-2CE6-00B0-54EF2A0CC23B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3930308"/>
            <a:ext cx="360000" cy="36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95AF8A3-C501-5DF6-9CD9-DCAE340F34E3}"/>
              </a:ext>
            </a:extLst>
          </p:cNvPr>
          <p:cNvSpPr txBox="1"/>
          <p:nvPr userDrawn="1"/>
        </p:nvSpPr>
        <p:spPr>
          <a:xfrm>
            <a:off x="-2709668" y="1321794"/>
            <a:ext cx="2058824" cy="400110"/>
          </a:xfrm>
          <a:prstGeom prst="rect">
            <a:avLst/>
          </a:prstGeom>
          <a:noFill/>
        </p:spPr>
        <p:txBody>
          <a:bodyPr wrap="none" lIns="36000" rIns="36000" rtlCol="0" anchor="ctr">
            <a:spAutoFit/>
          </a:bodyPr>
          <a:lstStyle/>
          <a:p>
            <a:pPr algn="r"/>
            <a:r>
              <a:rPr lang="en-NL" sz="1000">
                <a:solidFill>
                  <a:schemeClr val="accent5"/>
                </a:solidFill>
              </a:rPr>
              <a:t>Use color for titles</a:t>
            </a:r>
          </a:p>
          <a:p>
            <a:pPr algn="r"/>
            <a:r>
              <a:rPr lang="en-NL" sz="1000">
                <a:solidFill>
                  <a:schemeClr val="accent5"/>
                </a:solidFill>
              </a:rPr>
              <a:t>Font type title: </a:t>
            </a:r>
            <a:r>
              <a:rPr lang="en-GB" sz="1000">
                <a:solidFill>
                  <a:schemeClr val="accent5"/>
                </a:solidFill>
              </a:rPr>
              <a:t>Browallia New, size 44</a:t>
            </a:r>
            <a:endParaRPr lang="en-NL" sz="1000">
              <a:solidFill>
                <a:schemeClr val="accent5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B262EFC-0629-464B-8132-A6C20DE4DAF5}"/>
              </a:ext>
            </a:extLst>
          </p:cNvPr>
          <p:cNvSpPr txBox="1"/>
          <p:nvPr userDrawn="1"/>
        </p:nvSpPr>
        <p:spPr>
          <a:xfrm>
            <a:off x="-2291285" y="3910251"/>
            <a:ext cx="1640441" cy="400110"/>
          </a:xfrm>
          <a:prstGeom prst="rect">
            <a:avLst/>
          </a:prstGeom>
          <a:noFill/>
        </p:spPr>
        <p:txBody>
          <a:bodyPr wrap="none" lIns="36000" rIns="36000" rtlCol="0" anchor="ctr">
            <a:spAutoFit/>
          </a:bodyPr>
          <a:lstStyle/>
          <a:p>
            <a:pPr algn="r"/>
            <a:r>
              <a:rPr lang="en-NL" sz="1000">
                <a:solidFill>
                  <a:schemeClr val="accent5"/>
                </a:solidFill>
              </a:rPr>
              <a:t>Use color for text</a:t>
            </a:r>
          </a:p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NL" sz="1000">
                <a:solidFill>
                  <a:schemeClr val="accent5"/>
                </a:solidFill>
              </a:rPr>
              <a:t>Font type text: Corbel</a:t>
            </a:r>
            <a:r>
              <a:rPr lang="en-GB" sz="1000">
                <a:solidFill>
                  <a:schemeClr val="accent5"/>
                </a:solidFill>
              </a:rPr>
              <a:t>, size 14</a:t>
            </a:r>
            <a:endParaRPr lang="en-NL" sz="1000">
              <a:solidFill>
                <a:schemeClr val="accent5"/>
              </a:solidFill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8E5AA66-B3B6-43E5-E415-E1E05C824B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16726" y="6393083"/>
            <a:ext cx="943356" cy="225463"/>
          </a:xfrm>
          <a:prstGeom prst="rect">
            <a:avLst/>
          </a:prstGeom>
        </p:spPr>
      </p:pic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4A911F3D-5ACF-D865-EF3F-411CAE11C4D5}"/>
              </a:ext>
            </a:extLst>
          </p:cNvPr>
          <p:cNvSpPr txBox="1">
            <a:spLocks/>
          </p:cNvSpPr>
          <p:nvPr userDrawn="1"/>
        </p:nvSpPr>
        <p:spPr>
          <a:xfrm>
            <a:off x="11317940" y="6396404"/>
            <a:ext cx="226822" cy="224155"/>
          </a:xfrm>
          <a:prstGeom prst="ellipse">
            <a:avLst/>
          </a:prstGeom>
          <a:ln w="19050">
            <a:solidFill>
              <a:schemeClr val="accent5"/>
            </a:solidFill>
          </a:ln>
        </p:spPr>
        <p:txBody>
          <a:bodyPr lIns="0" tIns="0" rIns="0" bIns="0" anchor="ctr"/>
          <a:lstStyle>
            <a:defPPr>
              <a:defRPr lang="en-US"/>
            </a:defPPr>
            <a:lvl1pPr marL="0" algn="ctr" defTabSz="228600" rtl="0" eaLnBrk="1" latinLnBrk="0" hangingPunct="1">
              <a:defRPr sz="12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09F87CD-0A17-480A-BA0C-CEA734C9A086}" type="slidenum">
              <a:rPr lang="en-US" smtClean="0">
                <a:solidFill>
                  <a:schemeClr val="accent1"/>
                </a:solidFill>
              </a:rPr>
              <a:pPr/>
              <a:t>‹nr.›</a:t>
            </a:fld>
            <a:endParaRPr lang="en-US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7650968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3840">
          <p15:clr>
            <a:srgbClr val="FBAE40"/>
          </p15:clr>
        </p15:guide>
        <p15:guide id="3" pos="7242">
          <p15:clr>
            <a:srgbClr val="FBAE40"/>
          </p15:clr>
        </p15:guide>
        <p15:guide id="4" pos="429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8343792-E0B7-0403-490F-1CA46DEC27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177A3"/>
              </a:gs>
              <a:gs pos="100000">
                <a:srgbClr val="1C609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66A639F-7E97-2DEE-9FB5-DF6AA13FA9D2}"/>
              </a:ext>
            </a:extLst>
          </p:cNvPr>
          <p:cNvCxnSpPr>
            <a:cxnSpLocks/>
          </p:cNvCxnSpPr>
          <p:nvPr userDrawn="1"/>
        </p:nvCxnSpPr>
        <p:spPr>
          <a:xfrm>
            <a:off x="0" y="4965692"/>
            <a:ext cx="6249500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82DB989-03F8-3CE1-04EA-15CC1909D25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687006" y="3350"/>
            <a:ext cx="8502795" cy="6224845"/>
          </a:xfrm>
          <a:custGeom>
            <a:avLst/>
            <a:gdLst>
              <a:gd name="connsiteX0" fmla="*/ 47748 w 8502795"/>
              <a:gd name="connsiteY0" fmla="*/ 0 h 6224845"/>
              <a:gd name="connsiteX1" fmla="*/ 2626538 w 8502795"/>
              <a:gd name="connsiteY1" fmla="*/ 0 h 6224845"/>
              <a:gd name="connsiteX2" fmla="*/ 8502674 w 8502795"/>
              <a:gd name="connsiteY2" fmla="*/ 0 h 6224845"/>
              <a:gd name="connsiteX3" fmla="*/ 8502795 w 8502795"/>
              <a:gd name="connsiteY3" fmla="*/ 0 h 6224845"/>
              <a:gd name="connsiteX4" fmla="*/ 8502795 w 8502795"/>
              <a:gd name="connsiteY4" fmla="*/ 6224845 h 6224845"/>
              <a:gd name="connsiteX5" fmla="*/ 4030907 w 8502795"/>
              <a:gd name="connsiteY5" fmla="*/ 5681498 h 6224845"/>
              <a:gd name="connsiteX6" fmla="*/ 47748 w 8502795"/>
              <a:gd name="connsiteY6" fmla="*/ 0 h 6224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02795" h="6224845">
                <a:moveTo>
                  <a:pt x="47748" y="0"/>
                </a:moveTo>
                <a:lnTo>
                  <a:pt x="2626538" y="0"/>
                </a:lnTo>
                <a:lnTo>
                  <a:pt x="8502674" y="0"/>
                </a:lnTo>
                <a:lnTo>
                  <a:pt x="8502795" y="0"/>
                </a:lnTo>
                <a:lnTo>
                  <a:pt x="8502795" y="6224845"/>
                </a:lnTo>
                <a:cubicBezTo>
                  <a:pt x="5881364" y="6224845"/>
                  <a:pt x="4030907" y="5681498"/>
                  <a:pt x="4030907" y="5681498"/>
                </a:cubicBezTo>
                <a:cubicBezTo>
                  <a:pt x="-734221" y="4044249"/>
                  <a:pt x="47748" y="0"/>
                  <a:pt x="4774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  <a:endParaRPr lang="en-US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0183B35-E8E5-D8B1-512C-F1D1BCA30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7650" y="604491"/>
            <a:ext cx="1910750" cy="456671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4D050A6-A76F-877C-7627-C3038D143096}"/>
              </a:ext>
            </a:extLst>
          </p:cNvPr>
          <p:cNvCxnSpPr>
            <a:cxnSpLocks/>
          </p:cNvCxnSpPr>
          <p:nvPr userDrawn="1"/>
        </p:nvCxnSpPr>
        <p:spPr>
          <a:xfrm>
            <a:off x="527650" y="4965692"/>
            <a:ext cx="1019210" cy="0"/>
          </a:xfrm>
          <a:prstGeom prst="line">
            <a:avLst/>
          </a:prstGeom>
          <a:ln w="381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reeform: Shape 4">
            <a:extLst>
              <a:ext uri="{FF2B5EF4-FFF2-40B4-BE49-F238E27FC236}">
                <a16:creationId xmlns:a16="http://schemas.microsoft.com/office/drawing/2014/main" id="{E35271DF-AEAF-5D97-DA2B-33C4C3DFCD89}"/>
              </a:ext>
            </a:extLst>
          </p:cNvPr>
          <p:cNvSpPr/>
          <p:nvPr userDrawn="1"/>
        </p:nvSpPr>
        <p:spPr>
          <a:xfrm>
            <a:off x="3689205" y="0"/>
            <a:ext cx="8502795" cy="6224845"/>
          </a:xfrm>
          <a:custGeom>
            <a:avLst/>
            <a:gdLst>
              <a:gd name="connsiteX0" fmla="*/ 47747 w 8502795"/>
              <a:gd name="connsiteY0" fmla="*/ 0 h 6224845"/>
              <a:gd name="connsiteX1" fmla="*/ 2626537 w 8502795"/>
              <a:gd name="connsiteY1" fmla="*/ 0 h 6224845"/>
              <a:gd name="connsiteX2" fmla="*/ 4816419 w 8502795"/>
              <a:gd name="connsiteY2" fmla="*/ 5020612 h 6224845"/>
              <a:gd name="connsiteX3" fmla="*/ 8502673 w 8502795"/>
              <a:gd name="connsiteY3" fmla="*/ 5778634 h 6224845"/>
              <a:gd name="connsiteX4" fmla="*/ 8502673 w 8502795"/>
              <a:gd name="connsiteY4" fmla="*/ 0 h 6224845"/>
              <a:gd name="connsiteX5" fmla="*/ 8502795 w 8502795"/>
              <a:gd name="connsiteY5" fmla="*/ 0 h 6224845"/>
              <a:gd name="connsiteX6" fmla="*/ 8502795 w 8502795"/>
              <a:gd name="connsiteY6" fmla="*/ 6224845 h 6224845"/>
              <a:gd name="connsiteX7" fmla="*/ 4030906 w 8502795"/>
              <a:gd name="connsiteY7" fmla="*/ 5681498 h 6224845"/>
              <a:gd name="connsiteX8" fmla="*/ 47747 w 8502795"/>
              <a:gd name="connsiteY8" fmla="*/ 0 h 6224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02795" h="6224845">
                <a:moveTo>
                  <a:pt x="47747" y="0"/>
                </a:moveTo>
                <a:lnTo>
                  <a:pt x="2626537" y="0"/>
                </a:lnTo>
                <a:cubicBezTo>
                  <a:pt x="2626537" y="0"/>
                  <a:pt x="1971393" y="3691752"/>
                  <a:pt x="4816419" y="5020612"/>
                </a:cubicBezTo>
                <a:cubicBezTo>
                  <a:pt x="4816419" y="5020612"/>
                  <a:pt x="6555079" y="5834837"/>
                  <a:pt x="8502673" y="5778634"/>
                </a:cubicBezTo>
                <a:lnTo>
                  <a:pt x="8502673" y="0"/>
                </a:lnTo>
                <a:lnTo>
                  <a:pt x="8502795" y="0"/>
                </a:lnTo>
                <a:lnTo>
                  <a:pt x="8502795" y="6224845"/>
                </a:lnTo>
                <a:cubicBezTo>
                  <a:pt x="5881363" y="6224845"/>
                  <a:pt x="4030906" y="5681498"/>
                  <a:pt x="4030906" y="5681498"/>
                </a:cubicBezTo>
                <a:cubicBezTo>
                  <a:pt x="-734222" y="4044249"/>
                  <a:pt x="47747" y="0"/>
                  <a:pt x="47747" y="0"/>
                </a:cubicBezTo>
                <a:close/>
              </a:path>
            </a:pathLst>
          </a:custGeom>
          <a:solidFill>
            <a:srgbClr val="0079A8">
              <a:alpha val="56000"/>
            </a:srgbClr>
          </a:solidFill>
          <a:ln w="1220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9662F990-D2CF-3319-EEAD-A8658307D2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916" y="3429000"/>
            <a:ext cx="8570188" cy="1584561"/>
          </a:xfrm>
          <a:prstGeom prst="rect">
            <a:avLst/>
          </a:prstGeom>
        </p:spPr>
        <p:txBody>
          <a:bodyPr lIns="0" anchor="b">
            <a:noAutofit/>
          </a:bodyPr>
          <a:lstStyle>
            <a:lvl1pPr algn="l">
              <a:lnSpc>
                <a:spcPct val="60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2B2B2459-60BA-9383-547A-159C9B9623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16" y="5104011"/>
            <a:ext cx="8548255" cy="1300978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3386168940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3D7AB2E-5F72-5AE1-CB40-8AAE48C9888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19138" y="0"/>
            <a:ext cx="3487737" cy="685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61AFB359-1889-C3AE-1620-C72C139C1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0800" y="1461346"/>
            <a:ext cx="5654246" cy="162660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60000"/>
              </a:lnSpc>
              <a:defRPr sz="54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7DF2FC3-85C5-EE62-2997-459BD99042A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260800" y="3224477"/>
            <a:ext cx="5654246" cy="228197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buNone/>
              <a:defRPr sz="15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6E03E89-9F3B-E163-4AC2-16CB3B83F0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53529" y="421909"/>
            <a:ext cx="1209635" cy="289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099112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177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8343792-E0B7-0403-490F-1CA46DEC27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177A3"/>
              </a:gs>
              <a:gs pos="100000">
                <a:srgbClr val="1C609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6896ABFB-CF65-1CD8-B4BD-A934F23CF541}"/>
              </a:ext>
            </a:extLst>
          </p:cNvPr>
          <p:cNvSpPr/>
          <p:nvPr userDrawn="1"/>
        </p:nvSpPr>
        <p:spPr>
          <a:xfrm>
            <a:off x="1" y="0"/>
            <a:ext cx="12191999" cy="6858001"/>
          </a:xfrm>
          <a:custGeom>
            <a:avLst/>
            <a:gdLst>
              <a:gd name="connsiteX0" fmla="*/ 11262989 w 12191999"/>
              <a:gd name="connsiteY0" fmla="*/ 3649930 h 6858001"/>
              <a:gd name="connsiteX1" fmla="*/ 11289557 w 12191999"/>
              <a:gd name="connsiteY1" fmla="*/ 3742053 h 6858001"/>
              <a:gd name="connsiteX2" fmla="*/ 11058675 w 12191999"/>
              <a:gd name="connsiteY2" fmla="*/ 5456271 h 6858001"/>
              <a:gd name="connsiteX3" fmla="*/ 10801467 w 12191999"/>
              <a:gd name="connsiteY3" fmla="*/ 6740623 h 6858001"/>
              <a:gd name="connsiteX4" fmla="*/ 10783126 w 12191999"/>
              <a:gd name="connsiteY4" fmla="*/ 6858001 h 6858001"/>
              <a:gd name="connsiteX5" fmla="*/ 9920828 w 12191999"/>
              <a:gd name="connsiteY5" fmla="*/ 6858001 h 6858001"/>
              <a:gd name="connsiteX6" fmla="*/ 10023315 w 12191999"/>
              <a:gd name="connsiteY6" fmla="*/ 6372675 h 6858001"/>
              <a:gd name="connsiteX7" fmla="*/ 10137635 w 12191999"/>
              <a:gd name="connsiteY7" fmla="*/ 5854963 h 6858001"/>
              <a:gd name="connsiteX8" fmla="*/ 11170867 w 12191999"/>
              <a:gd name="connsiteY8" fmla="*/ 3716251 h 6858001"/>
              <a:gd name="connsiteX9" fmla="*/ 11262989 w 12191999"/>
              <a:gd name="connsiteY9" fmla="*/ 3649930 h 6858001"/>
              <a:gd name="connsiteX10" fmla="*/ 10013108 w 12191999"/>
              <a:gd name="connsiteY10" fmla="*/ 1 h 6858001"/>
              <a:gd name="connsiteX11" fmla="*/ 11513123 w 12191999"/>
              <a:gd name="connsiteY11" fmla="*/ 1 h 6858001"/>
              <a:gd name="connsiteX12" fmla="*/ 11375667 w 12191999"/>
              <a:gd name="connsiteY12" fmla="*/ 242204 h 6858001"/>
              <a:gd name="connsiteX13" fmla="*/ 8901800 w 12191999"/>
              <a:gd name="connsiteY13" fmla="*/ 3065651 h 6858001"/>
              <a:gd name="connsiteX14" fmla="*/ 8849051 w 12191999"/>
              <a:gd name="connsiteY14" fmla="*/ 3092218 h 6858001"/>
              <a:gd name="connsiteX15" fmla="*/ 8835862 w 12191999"/>
              <a:gd name="connsiteY15" fmla="*/ 3065844 h 6858001"/>
              <a:gd name="connsiteX16" fmla="*/ 8848858 w 12191999"/>
              <a:gd name="connsiteY16" fmla="*/ 3039466 h 6858001"/>
              <a:gd name="connsiteX17" fmla="*/ 9928744 w 12191999"/>
              <a:gd name="connsiteY17" fmla="*/ 136047 h 6858001"/>
              <a:gd name="connsiteX18" fmla="*/ 0 w 12191999"/>
              <a:gd name="connsiteY18" fmla="*/ 0 h 6858001"/>
              <a:gd name="connsiteX19" fmla="*/ 8524326 w 12191999"/>
              <a:gd name="connsiteY19" fmla="*/ 0 h 6858001"/>
              <a:gd name="connsiteX20" fmla="*/ 8358239 w 12191999"/>
              <a:gd name="connsiteY20" fmla="*/ 358554 h 6858001"/>
              <a:gd name="connsiteX21" fmla="*/ 8182024 w 12191999"/>
              <a:gd name="connsiteY21" fmla="*/ 801561 h 6858001"/>
              <a:gd name="connsiteX22" fmla="*/ 7106740 w 12191999"/>
              <a:gd name="connsiteY22" fmla="*/ 5918991 h 6858001"/>
              <a:gd name="connsiteX23" fmla="*/ 7167886 w 12191999"/>
              <a:gd name="connsiteY23" fmla="*/ 6821267 h 6858001"/>
              <a:gd name="connsiteX24" fmla="*/ 7174068 w 12191999"/>
              <a:gd name="connsiteY24" fmla="*/ 6858000 h 6858001"/>
              <a:gd name="connsiteX25" fmla="*/ 0 w 12191999"/>
              <a:gd name="connsiteY25" fmla="*/ 6858000 h 6858001"/>
              <a:gd name="connsiteX26" fmla="*/ 12191997 w 12191999"/>
              <a:gd name="connsiteY26" fmla="*/ 0 h 6858001"/>
              <a:gd name="connsiteX27" fmla="*/ 12191999 w 12191999"/>
              <a:gd name="connsiteY27" fmla="*/ 0 h 6858001"/>
              <a:gd name="connsiteX28" fmla="*/ 12191999 w 12191999"/>
              <a:gd name="connsiteY28" fmla="*/ 6391986 h 6858001"/>
              <a:gd name="connsiteX29" fmla="*/ 12147315 w 12191999"/>
              <a:gd name="connsiteY29" fmla="*/ 6604731 h 6858001"/>
              <a:gd name="connsiteX30" fmla="*/ 12101825 w 12191999"/>
              <a:gd name="connsiteY30" fmla="*/ 6858000 h 6858001"/>
              <a:gd name="connsiteX31" fmla="*/ 12101823 w 12191999"/>
              <a:gd name="connsiteY31" fmla="*/ 6858000 h 6858001"/>
              <a:gd name="connsiteX32" fmla="*/ 12147313 w 12191999"/>
              <a:gd name="connsiteY32" fmla="*/ 6604731 h 6858001"/>
              <a:gd name="connsiteX33" fmla="*/ 12191997 w 12191999"/>
              <a:gd name="connsiteY33" fmla="*/ 6391986 h 6858001"/>
              <a:gd name="connsiteX34" fmla="*/ 12191997 w 12191999"/>
              <a:gd name="connsiteY34" fmla="*/ 3161904 h 6858001"/>
              <a:gd name="connsiteX35" fmla="*/ 12181717 w 12191999"/>
              <a:gd name="connsiteY35" fmla="*/ 3148611 h 6858001"/>
              <a:gd name="connsiteX36" fmla="*/ 11629187 w 12191999"/>
              <a:gd name="connsiteY36" fmla="*/ 2897654 h 6858001"/>
              <a:gd name="connsiteX37" fmla="*/ 10079336 w 12191999"/>
              <a:gd name="connsiteY37" fmla="*/ 4339900 h 6858001"/>
              <a:gd name="connsiteX38" fmla="*/ 9428546 w 12191999"/>
              <a:gd name="connsiteY38" fmla="*/ 6569394 h 6858001"/>
              <a:gd name="connsiteX39" fmla="*/ 9392062 w 12191999"/>
              <a:gd name="connsiteY39" fmla="*/ 6756138 h 6858001"/>
              <a:gd name="connsiteX40" fmla="*/ 9370421 w 12191999"/>
              <a:gd name="connsiteY40" fmla="*/ 6858000 h 6858001"/>
              <a:gd name="connsiteX41" fmla="*/ 8503891 w 12191999"/>
              <a:gd name="connsiteY41" fmla="*/ 6858000 h 6858001"/>
              <a:gd name="connsiteX42" fmla="*/ 8493864 w 12191999"/>
              <a:gd name="connsiteY42" fmla="*/ 6814873 h 6858001"/>
              <a:gd name="connsiteX43" fmla="*/ 8424939 w 12191999"/>
              <a:gd name="connsiteY43" fmla="*/ 5966770 h 6858001"/>
              <a:gd name="connsiteX44" fmla="*/ 8628487 w 12191999"/>
              <a:gd name="connsiteY44" fmla="*/ 3975995 h 6858001"/>
              <a:gd name="connsiteX45" fmla="*/ 8733417 w 12191999"/>
              <a:gd name="connsiteY45" fmla="*/ 3817358 h 6858001"/>
              <a:gd name="connsiteX46" fmla="*/ 11845159 w 12191999"/>
              <a:gd name="connsiteY46" fmla="*/ 656307 h 6858001"/>
              <a:gd name="connsiteX47" fmla="*/ 12039981 w 12191999"/>
              <a:gd name="connsiteY47" fmla="*/ 379343 h 6858001"/>
              <a:gd name="connsiteX48" fmla="*/ 12191997 w 12191999"/>
              <a:gd name="connsiteY48" fmla="*/ 14724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2191999" h="6858001">
                <a:moveTo>
                  <a:pt x="11262989" y="3649930"/>
                </a:moveTo>
                <a:cubicBezTo>
                  <a:pt x="11289175" y="3649930"/>
                  <a:pt x="11289367" y="3689494"/>
                  <a:pt x="11289557" y="3742053"/>
                </a:cubicBezTo>
                <a:cubicBezTo>
                  <a:pt x="11252671" y="4427626"/>
                  <a:pt x="11187877" y="4770509"/>
                  <a:pt x="11058675" y="5456271"/>
                </a:cubicBezTo>
                <a:cubicBezTo>
                  <a:pt x="10974483" y="5865189"/>
                  <a:pt x="10877249" y="6297184"/>
                  <a:pt x="10801467" y="6740623"/>
                </a:cubicBezTo>
                <a:lnTo>
                  <a:pt x="10783126" y="6858001"/>
                </a:lnTo>
                <a:lnTo>
                  <a:pt x="9920828" y="6858001"/>
                </a:lnTo>
                <a:lnTo>
                  <a:pt x="10023315" y="6372675"/>
                </a:lnTo>
                <a:cubicBezTo>
                  <a:pt x="10058939" y="6199565"/>
                  <a:pt x="10095396" y="6026452"/>
                  <a:pt x="10137635" y="5854963"/>
                </a:cubicBezTo>
                <a:cubicBezTo>
                  <a:pt x="10332203" y="5010753"/>
                  <a:pt x="10645650" y="4297852"/>
                  <a:pt x="11170867" y="3716251"/>
                </a:cubicBezTo>
                <a:cubicBezTo>
                  <a:pt x="11210241" y="3676305"/>
                  <a:pt x="11236809" y="3649930"/>
                  <a:pt x="11262989" y="3649930"/>
                </a:cubicBezTo>
                <a:close/>
                <a:moveTo>
                  <a:pt x="10013108" y="1"/>
                </a:moveTo>
                <a:lnTo>
                  <a:pt x="11513123" y="1"/>
                </a:lnTo>
                <a:lnTo>
                  <a:pt x="11375667" y="242204"/>
                </a:lnTo>
                <a:cubicBezTo>
                  <a:pt x="10719010" y="1351000"/>
                  <a:pt x="9855550" y="2162743"/>
                  <a:pt x="8901800" y="3065651"/>
                </a:cubicBezTo>
                <a:cubicBezTo>
                  <a:pt x="8888421" y="3079029"/>
                  <a:pt x="8875426" y="3092218"/>
                  <a:pt x="8849051" y="3092218"/>
                </a:cubicBezTo>
                <a:lnTo>
                  <a:pt x="8835862" y="3065844"/>
                </a:lnTo>
                <a:lnTo>
                  <a:pt x="8848858" y="3039466"/>
                </a:lnTo>
                <a:cubicBezTo>
                  <a:pt x="9099043" y="2060013"/>
                  <a:pt x="9398823" y="1036745"/>
                  <a:pt x="9928744" y="136047"/>
                </a:cubicBezTo>
                <a:close/>
                <a:moveTo>
                  <a:pt x="0" y="0"/>
                </a:moveTo>
                <a:lnTo>
                  <a:pt x="8524326" y="0"/>
                </a:lnTo>
                <a:lnTo>
                  <a:pt x="8358239" y="358554"/>
                </a:lnTo>
                <a:cubicBezTo>
                  <a:pt x="8294613" y="506688"/>
                  <a:pt x="8235850" y="654752"/>
                  <a:pt x="8182024" y="801561"/>
                </a:cubicBezTo>
                <a:cubicBezTo>
                  <a:pt x="7620684" y="2306117"/>
                  <a:pt x="7100433" y="4179350"/>
                  <a:pt x="7106740" y="5918991"/>
                </a:cubicBezTo>
                <a:cubicBezTo>
                  <a:pt x="7107697" y="6190809"/>
                  <a:pt x="7121700" y="6506340"/>
                  <a:pt x="7167886" y="6821267"/>
                </a:cubicBezTo>
                <a:lnTo>
                  <a:pt x="7174068" y="6858000"/>
                </a:lnTo>
                <a:lnTo>
                  <a:pt x="0" y="6858000"/>
                </a:lnTo>
                <a:close/>
                <a:moveTo>
                  <a:pt x="12191997" y="0"/>
                </a:moveTo>
                <a:lnTo>
                  <a:pt x="12191999" y="0"/>
                </a:lnTo>
                <a:lnTo>
                  <a:pt x="12191999" y="6391986"/>
                </a:lnTo>
                <a:lnTo>
                  <a:pt x="12147315" y="6604731"/>
                </a:lnTo>
                <a:lnTo>
                  <a:pt x="12101825" y="6858000"/>
                </a:lnTo>
                <a:lnTo>
                  <a:pt x="12101823" y="6858000"/>
                </a:lnTo>
                <a:lnTo>
                  <a:pt x="12147313" y="6604731"/>
                </a:lnTo>
                <a:lnTo>
                  <a:pt x="12191997" y="6391986"/>
                </a:lnTo>
                <a:lnTo>
                  <a:pt x="12191997" y="3161904"/>
                </a:lnTo>
                <a:lnTo>
                  <a:pt x="12181717" y="3148611"/>
                </a:lnTo>
                <a:cubicBezTo>
                  <a:pt x="12044071" y="2990650"/>
                  <a:pt x="11861475" y="2896795"/>
                  <a:pt x="11629187" y="2897654"/>
                </a:cubicBezTo>
                <a:cubicBezTo>
                  <a:pt x="10891243" y="2926706"/>
                  <a:pt x="10366788" y="3653562"/>
                  <a:pt x="10079336" y="4339900"/>
                </a:cubicBezTo>
                <a:cubicBezTo>
                  <a:pt x="9752505" y="5052801"/>
                  <a:pt x="9544370" y="5804698"/>
                  <a:pt x="9428546" y="6569394"/>
                </a:cubicBezTo>
                <a:cubicBezTo>
                  <a:pt x="9417222" y="6628740"/>
                  <a:pt x="9405089" y="6691588"/>
                  <a:pt x="9392062" y="6756138"/>
                </a:cubicBezTo>
                <a:lnTo>
                  <a:pt x="9370421" y="6858000"/>
                </a:lnTo>
                <a:lnTo>
                  <a:pt x="8503891" y="6858000"/>
                </a:lnTo>
                <a:lnTo>
                  <a:pt x="8493864" y="6814873"/>
                </a:lnTo>
                <a:cubicBezTo>
                  <a:pt x="8446871" y="6572882"/>
                  <a:pt x="8432776" y="6315960"/>
                  <a:pt x="8424939" y="5966770"/>
                </a:cubicBezTo>
                <a:cubicBezTo>
                  <a:pt x="8422454" y="5307765"/>
                  <a:pt x="8499096" y="4635571"/>
                  <a:pt x="8628487" y="3975995"/>
                </a:cubicBezTo>
                <a:cubicBezTo>
                  <a:pt x="8641487" y="3910053"/>
                  <a:pt x="8667479" y="3857304"/>
                  <a:pt x="8733417" y="3817358"/>
                </a:cubicBezTo>
                <a:cubicBezTo>
                  <a:pt x="9797232" y="2877969"/>
                  <a:pt x="10861425" y="1951382"/>
                  <a:pt x="11845159" y="656307"/>
                </a:cubicBezTo>
                <a:cubicBezTo>
                  <a:pt x="11914013" y="560505"/>
                  <a:pt x="11978963" y="468629"/>
                  <a:pt x="12039981" y="379343"/>
                </a:cubicBezTo>
                <a:lnTo>
                  <a:pt x="12191997" y="1472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0183B35-E8E5-D8B1-512C-F1D1BCA30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7650" y="604491"/>
            <a:ext cx="1910750" cy="456671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60F4218-2EE0-546D-3F79-E0E719A6FCFB}"/>
              </a:ext>
            </a:extLst>
          </p:cNvPr>
          <p:cNvCxnSpPr>
            <a:cxnSpLocks/>
          </p:cNvCxnSpPr>
          <p:nvPr userDrawn="1"/>
        </p:nvCxnSpPr>
        <p:spPr>
          <a:xfrm>
            <a:off x="0" y="4220935"/>
            <a:ext cx="6249500" cy="0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ubtitle 2">
            <a:extLst>
              <a:ext uri="{FF2B5EF4-FFF2-40B4-BE49-F238E27FC236}">
                <a16:creationId xmlns:a16="http://schemas.microsoft.com/office/drawing/2014/main" id="{F4BAC6E8-70D6-03EB-2CF9-73EF399350E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16" y="4359254"/>
            <a:ext cx="8548255" cy="1300978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PK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BADFC970-AC73-A3EA-1D39-CD87A3E84E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939" y="1963717"/>
            <a:ext cx="8570188" cy="2305087"/>
          </a:xfrm>
          <a:prstGeom prst="rect">
            <a:avLst/>
          </a:prstGeom>
        </p:spPr>
        <p:txBody>
          <a:bodyPr lIns="0" tIns="46800" rIns="0" anchor="b">
            <a:noAutofit/>
          </a:bodyPr>
          <a:lstStyle>
            <a:lvl1pPr algn="l">
              <a:lnSpc>
                <a:spcPct val="60000"/>
              </a:lnSpc>
              <a:defRPr sz="7200">
                <a:solidFill>
                  <a:schemeClr val="bg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5FE48B-DAAC-027F-E8AC-F238A14B8639}"/>
              </a:ext>
            </a:extLst>
          </p:cNvPr>
          <p:cNvCxnSpPr>
            <a:cxnSpLocks/>
          </p:cNvCxnSpPr>
          <p:nvPr userDrawn="1"/>
        </p:nvCxnSpPr>
        <p:spPr>
          <a:xfrm>
            <a:off x="527650" y="4220935"/>
            <a:ext cx="1019210" cy="0"/>
          </a:xfrm>
          <a:prstGeom prst="line">
            <a:avLst/>
          </a:prstGeom>
          <a:ln w="381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4DCE45CC-D9B6-C91F-F8F3-AE5826DDB67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27650" y="756891"/>
            <a:ext cx="1910750" cy="45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82240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25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6896ABFB-CF65-1CD8-B4BD-A934F23CF541}"/>
              </a:ext>
            </a:extLst>
          </p:cNvPr>
          <p:cNvSpPr/>
          <p:nvPr userDrawn="1"/>
        </p:nvSpPr>
        <p:spPr>
          <a:xfrm>
            <a:off x="1" y="0"/>
            <a:ext cx="12191999" cy="6858001"/>
          </a:xfrm>
          <a:custGeom>
            <a:avLst/>
            <a:gdLst>
              <a:gd name="connsiteX0" fmla="*/ 11262989 w 12191999"/>
              <a:gd name="connsiteY0" fmla="*/ 3649930 h 6858001"/>
              <a:gd name="connsiteX1" fmla="*/ 11289557 w 12191999"/>
              <a:gd name="connsiteY1" fmla="*/ 3742053 h 6858001"/>
              <a:gd name="connsiteX2" fmla="*/ 11058675 w 12191999"/>
              <a:gd name="connsiteY2" fmla="*/ 5456271 h 6858001"/>
              <a:gd name="connsiteX3" fmla="*/ 10801467 w 12191999"/>
              <a:gd name="connsiteY3" fmla="*/ 6740623 h 6858001"/>
              <a:gd name="connsiteX4" fmla="*/ 10783126 w 12191999"/>
              <a:gd name="connsiteY4" fmla="*/ 6858001 h 6858001"/>
              <a:gd name="connsiteX5" fmla="*/ 9920828 w 12191999"/>
              <a:gd name="connsiteY5" fmla="*/ 6858001 h 6858001"/>
              <a:gd name="connsiteX6" fmla="*/ 10023315 w 12191999"/>
              <a:gd name="connsiteY6" fmla="*/ 6372675 h 6858001"/>
              <a:gd name="connsiteX7" fmla="*/ 10137635 w 12191999"/>
              <a:gd name="connsiteY7" fmla="*/ 5854963 h 6858001"/>
              <a:gd name="connsiteX8" fmla="*/ 11170867 w 12191999"/>
              <a:gd name="connsiteY8" fmla="*/ 3716251 h 6858001"/>
              <a:gd name="connsiteX9" fmla="*/ 11262989 w 12191999"/>
              <a:gd name="connsiteY9" fmla="*/ 3649930 h 6858001"/>
              <a:gd name="connsiteX10" fmla="*/ 10013108 w 12191999"/>
              <a:gd name="connsiteY10" fmla="*/ 1 h 6858001"/>
              <a:gd name="connsiteX11" fmla="*/ 11513123 w 12191999"/>
              <a:gd name="connsiteY11" fmla="*/ 1 h 6858001"/>
              <a:gd name="connsiteX12" fmla="*/ 11375667 w 12191999"/>
              <a:gd name="connsiteY12" fmla="*/ 242204 h 6858001"/>
              <a:gd name="connsiteX13" fmla="*/ 8901800 w 12191999"/>
              <a:gd name="connsiteY13" fmla="*/ 3065651 h 6858001"/>
              <a:gd name="connsiteX14" fmla="*/ 8849051 w 12191999"/>
              <a:gd name="connsiteY14" fmla="*/ 3092218 h 6858001"/>
              <a:gd name="connsiteX15" fmla="*/ 8835862 w 12191999"/>
              <a:gd name="connsiteY15" fmla="*/ 3065844 h 6858001"/>
              <a:gd name="connsiteX16" fmla="*/ 8848858 w 12191999"/>
              <a:gd name="connsiteY16" fmla="*/ 3039466 h 6858001"/>
              <a:gd name="connsiteX17" fmla="*/ 9928744 w 12191999"/>
              <a:gd name="connsiteY17" fmla="*/ 136047 h 6858001"/>
              <a:gd name="connsiteX18" fmla="*/ 0 w 12191999"/>
              <a:gd name="connsiteY18" fmla="*/ 0 h 6858001"/>
              <a:gd name="connsiteX19" fmla="*/ 8524326 w 12191999"/>
              <a:gd name="connsiteY19" fmla="*/ 0 h 6858001"/>
              <a:gd name="connsiteX20" fmla="*/ 8358239 w 12191999"/>
              <a:gd name="connsiteY20" fmla="*/ 358554 h 6858001"/>
              <a:gd name="connsiteX21" fmla="*/ 8182024 w 12191999"/>
              <a:gd name="connsiteY21" fmla="*/ 801561 h 6858001"/>
              <a:gd name="connsiteX22" fmla="*/ 7106740 w 12191999"/>
              <a:gd name="connsiteY22" fmla="*/ 5918991 h 6858001"/>
              <a:gd name="connsiteX23" fmla="*/ 7167886 w 12191999"/>
              <a:gd name="connsiteY23" fmla="*/ 6821267 h 6858001"/>
              <a:gd name="connsiteX24" fmla="*/ 7174068 w 12191999"/>
              <a:gd name="connsiteY24" fmla="*/ 6858000 h 6858001"/>
              <a:gd name="connsiteX25" fmla="*/ 0 w 12191999"/>
              <a:gd name="connsiteY25" fmla="*/ 6858000 h 6858001"/>
              <a:gd name="connsiteX26" fmla="*/ 12191997 w 12191999"/>
              <a:gd name="connsiteY26" fmla="*/ 0 h 6858001"/>
              <a:gd name="connsiteX27" fmla="*/ 12191999 w 12191999"/>
              <a:gd name="connsiteY27" fmla="*/ 0 h 6858001"/>
              <a:gd name="connsiteX28" fmla="*/ 12191999 w 12191999"/>
              <a:gd name="connsiteY28" fmla="*/ 6391986 h 6858001"/>
              <a:gd name="connsiteX29" fmla="*/ 12147315 w 12191999"/>
              <a:gd name="connsiteY29" fmla="*/ 6604731 h 6858001"/>
              <a:gd name="connsiteX30" fmla="*/ 12101825 w 12191999"/>
              <a:gd name="connsiteY30" fmla="*/ 6858000 h 6858001"/>
              <a:gd name="connsiteX31" fmla="*/ 12101823 w 12191999"/>
              <a:gd name="connsiteY31" fmla="*/ 6858000 h 6858001"/>
              <a:gd name="connsiteX32" fmla="*/ 12147313 w 12191999"/>
              <a:gd name="connsiteY32" fmla="*/ 6604731 h 6858001"/>
              <a:gd name="connsiteX33" fmla="*/ 12191997 w 12191999"/>
              <a:gd name="connsiteY33" fmla="*/ 6391986 h 6858001"/>
              <a:gd name="connsiteX34" fmla="*/ 12191997 w 12191999"/>
              <a:gd name="connsiteY34" fmla="*/ 3161904 h 6858001"/>
              <a:gd name="connsiteX35" fmla="*/ 12181717 w 12191999"/>
              <a:gd name="connsiteY35" fmla="*/ 3148611 h 6858001"/>
              <a:gd name="connsiteX36" fmla="*/ 11629187 w 12191999"/>
              <a:gd name="connsiteY36" fmla="*/ 2897654 h 6858001"/>
              <a:gd name="connsiteX37" fmla="*/ 10079336 w 12191999"/>
              <a:gd name="connsiteY37" fmla="*/ 4339900 h 6858001"/>
              <a:gd name="connsiteX38" fmla="*/ 9428546 w 12191999"/>
              <a:gd name="connsiteY38" fmla="*/ 6569394 h 6858001"/>
              <a:gd name="connsiteX39" fmla="*/ 9392062 w 12191999"/>
              <a:gd name="connsiteY39" fmla="*/ 6756138 h 6858001"/>
              <a:gd name="connsiteX40" fmla="*/ 9370421 w 12191999"/>
              <a:gd name="connsiteY40" fmla="*/ 6858000 h 6858001"/>
              <a:gd name="connsiteX41" fmla="*/ 8503891 w 12191999"/>
              <a:gd name="connsiteY41" fmla="*/ 6858000 h 6858001"/>
              <a:gd name="connsiteX42" fmla="*/ 8493864 w 12191999"/>
              <a:gd name="connsiteY42" fmla="*/ 6814873 h 6858001"/>
              <a:gd name="connsiteX43" fmla="*/ 8424939 w 12191999"/>
              <a:gd name="connsiteY43" fmla="*/ 5966770 h 6858001"/>
              <a:gd name="connsiteX44" fmla="*/ 8628487 w 12191999"/>
              <a:gd name="connsiteY44" fmla="*/ 3975995 h 6858001"/>
              <a:gd name="connsiteX45" fmla="*/ 8733417 w 12191999"/>
              <a:gd name="connsiteY45" fmla="*/ 3817358 h 6858001"/>
              <a:gd name="connsiteX46" fmla="*/ 11845159 w 12191999"/>
              <a:gd name="connsiteY46" fmla="*/ 656307 h 6858001"/>
              <a:gd name="connsiteX47" fmla="*/ 12039981 w 12191999"/>
              <a:gd name="connsiteY47" fmla="*/ 379343 h 6858001"/>
              <a:gd name="connsiteX48" fmla="*/ 12191997 w 12191999"/>
              <a:gd name="connsiteY48" fmla="*/ 14724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2191999" h="6858001">
                <a:moveTo>
                  <a:pt x="11262989" y="3649930"/>
                </a:moveTo>
                <a:cubicBezTo>
                  <a:pt x="11289175" y="3649930"/>
                  <a:pt x="11289367" y="3689494"/>
                  <a:pt x="11289557" y="3742053"/>
                </a:cubicBezTo>
                <a:cubicBezTo>
                  <a:pt x="11252671" y="4427626"/>
                  <a:pt x="11187877" y="4770509"/>
                  <a:pt x="11058675" y="5456271"/>
                </a:cubicBezTo>
                <a:cubicBezTo>
                  <a:pt x="10974483" y="5865189"/>
                  <a:pt x="10877249" y="6297184"/>
                  <a:pt x="10801467" y="6740623"/>
                </a:cubicBezTo>
                <a:lnTo>
                  <a:pt x="10783126" y="6858001"/>
                </a:lnTo>
                <a:lnTo>
                  <a:pt x="9920828" y="6858001"/>
                </a:lnTo>
                <a:lnTo>
                  <a:pt x="10023315" y="6372675"/>
                </a:lnTo>
                <a:cubicBezTo>
                  <a:pt x="10058939" y="6199565"/>
                  <a:pt x="10095396" y="6026452"/>
                  <a:pt x="10137635" y="5854963"/>
                </a:cubicBezTo>
                <a:cubicBezTo>
                  <a:pt x="10332203" y="5010753"/>
                  <a:pt x="10645650" y="4297852"/>
                  <a:pt x="11170867" y="3716251"/>
                </a:cubicBezTo>
                <a:cubicBezTo>
                  <a:pt x="11210241" y="3676305"/>
                  <a:pt x="11236809" y="3649930"/>
                  <a:pt x="11262989" y="3649930"/>
                </a:cubicBezTo>
                <a:close/>
                <a:moveTo>
                  <a:pt x="10013108" y="1"/>
                </a:moveTo>
                <a:lnTo>
                  <a:pt x="11513123" y="1"/>
                </a:lnTo>
                <a:lnTo>
                  <a:pt x="11375667" y="242204"/>
                </a:lnTo>
                <a:cubicBezTo>
                  <a:pt x="10719010" y="1351000"/>
                  <a:pt x="9855550" y="2162743"/>
                  <a:pt x="8901800" y="3065651"/>
                </a:cubicBezTo>
                <a:cubicBezTo>
                  <a:pt x="8888421" y="3079029"/>
                  <a:pt x="8875426" y="3092218"/>
                  <a:pt x="8849051" y="3092218"/>
                </a:cubicBezTo>
                <a:lnTo>
                  <a:pt x="8835862" y="3065844"/>
                </a:lnTo>
                <a:lnTo>
                  <a:pt x="8848858" y="3039466"/>
                </a:lnTo>
                <a:cubicBezTo>
                  <a:pt x="9099043" y="2060013"/>
                  <a:pt x="9398823" y="1036745"/>
                  <a:pt x="9928744" y="136047"/>
                </a:cubicBezTo>
                <a:close/>
                <a:moveTo>
                  <a:pt x="0" y="0"/>
                </a:moveTo>
                <a:lnTo>
                  <a:pt x="8524326" y="0"/>
                </a:lnTo>
                <a:lnTo>
                  <a:pt x="8358239" y="358554"/>
                </a:lnTo>
                <a:cubicBezTo>
                  <a:pt x="8294613" y="506688"/>
                  <a:pt x="8235850" y="654752"/>
                  <a:pt x="8182024" y="801561"/>
                </a:cubicBezTo>
                <a:cubicBezTo>
                  <a:pt x="7620684" y="2306117"/>
                  <a:pt x="7100433" y="4179350"/>
                  <a:pt x="7106740" y="5918991"/>
                </a:cubicBezTo>
                <a:cubicBezTo>
                  <a:pt x="7107697" y="6190809"/>
                  <a:pt x="7121700" y="6506340"/>
                  <a:pt x="7167886" y="6821267"/>
                </a:cubicBezTo>
                <a:lnTo>
                  <a:pt x="7174068" y="6858000"/>
                </a:lnTo>
                <a:lnTo>
                  <a:pt x="0" y="6858000"/>
                </a:lnTo>
                <a:close/>
                <a:moveTo>
                  <a:pt x="12191997" y="0"/>
                </a:moveTo>
                <a:lnTo>
                  <a:pt x="12191999" y="0"/>
                </a:lnTo>
                <a:lnTo>
                  <a:pt x="12191999" y="6391986"/>
                </a:lnTo>
                <a:lnTo>
                  <a:pt x="12147315" y="6604731"/>
                </a:lnTo>
                <a:lnTo>
                  <a:pt x="12101825" y="6858000"/>
                </a:lnTo>
                <a:lnTo>
                  <a:pt x="12101823" y="6858000"/>
                </a:lnTo>
                <a:lnTo>
                  <a:pt x="12147313" y="6604731"/>
                </a:lnTo>
                <a:lnTo>
                  <a:pt x="12191997" y="6391986"/>
                </a:lnTo>
                <a:lnTo>
                  <a:pt x="12191997" y="3161904"/>
                </a:lnTo>
                <a:lnTo>
                  <a:pt x="12181717" y="3148611"/>
                </a:lnTo>
                <a:cubicBezTo>
                  <a:pt x="12044071" y="2990650"/>
                  <a:pt x="11861475" y="2896795"/>
                  <a:pt x="11629187" y="2897654"/>
                </a:cubicBezTo>
                <a:cubicBezTo>
                  <a:pt x="10891243" y="2926706"/>
                  <a:pt x="10366788" y="3653562"/>
                  <a:pt x="10079336" y="4339900"/>
                </a:cubicBezTo>
                <a:cubicBezTo>
                  <a:pt x="9752505" y="5052801"/>
                  <a:pt x="9544370" y="5804698"/>
                  <a:pt x="9428546" y="6569394"/>
                </a:cubicBezTo>
                <a:cubicBezTo>
                  <a:pt x="9417222" y="6628740"/>
                  <a:pt x="9405089" y="6691588"/>
                  <a:pt x="9392062" y="6756138"/>
                </a:cubicBezTo>
                <a:lnTo>
                  <a:pt x="9370421" y="6858000"/>
                </a:lnTo>
                <a:lnTo>
                  <a:pt x="8503891" y="6858000"/>
                </a:lnTo>
                <a:lnTo>
                  <a:pt x="8493864" y="6814873"/>
                </a:lnTo>
                <a:cubicBezTo>
                  <a:pt x="8446871" y="6572882"/>
                  <a:pt x="8432776" y="6315960"/>
                  <a:pt x="8424939" y="5966770"/>
                </a:cubicBezTo>
                <a:cubicBezTo>
                  <a:pt x="8422454" y="5307765"/>
                  <a:pt x="8499096" y="4635571"/>
                  <a:pt x="8628487" y="3975995"/>
                </a:cubicBezTo>
                <a:cubicBezTo>
                  <a:pt x="8641487" y="3910053"/>
                  <a:pt x="8667479" y="3857304"/>
                  <a:pt x="8733417" y="3817358"/>
                </a:cubicBezTo>
                <a:cubicBezTo>
                  <a:pt x="9797232" y="2877969"/>
                  <a:pt x="10861425" y="1951382"/>
                  <a:pt x="11845159" y="656307"/>
                </a:cubicBezTo>
                <a:cubicBezTo>
                  <a:pt x="11914013" y="560505"/>
                  <a:pt x="11978963" y="468629"/>
                  <a:pt x="12039981" y="379343"/>
                </a:cubicBezTo>
                <a:lnTo>
                  <a:pt x="12191997" y="1472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6E9DEA9B-625B-FF05-FB58-26962F8477B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106684" y="0"/>
            <a:ext cx="5085316" cy="6858000"/>
          </a:xfrm>
          <a:custGeom>
            <a:avLst/>
            <a:gdLst>
              <a:gd name="connsiteX0" fmla="*/ 5085316 w 5085316"/>
              <a:gd name="connsiteY0" fmla="*/ 6391986 h 6858000"/>
              <a:gd name="connsiteX1" fmla="*/ 5085316 w 5085316"/>
              <a:gd name="connsiteY1" fmla="*/ 6858000 h 6858000"/>
              <a:gd name="connsiteX2" fmla="*/ 4995142 w 5085316"/>
              <a:gd name="connsiteY2" fmla="*/ 6858000 h 6858000"/>
              <a:gd name="connsiteX3" fmla="*/ 5040632 w 5085316"/>
              <a:gd name="connsiteY3" fmla="*/ 6604731 h 6858000"/>
              <a:gd name="connsiteX4" fmla="*/ 4522504 w 5085316"/>
              <a:gd name="connsiteY4" fmla="*/ 2897654 h 6858000"/>
              <a:gd name="connsiteX5" fmla="*/ 5075034 w 5085316"/>
              <a:gd name="connsiteY5" fmla="*/ 3148611 h 6858000"/>
              <a:gd name="connsiteX6" fmla="*/ 5085314 w 5085316"/>
              <a:gd name="connsiteY6" fmla="*/ 3161904 h 6858000"/>
              <a:gd name="connsiteX7" fmla="*/ 5085314 w 5085316"/>
              <a:gd name="connsiteY7" fmla="*/ 6391986 h 6858000"/>
              <a:gd name="connsiteX8" fmla="*/ 5040630 w 5085316"/>
              <a:gd name="connsiteY8" fmla="*/ 6604731 h 6858000"/>
              <a:gd name="connsiteX9" fmla="*/ 4995140 w 5085316"/>
              <a:gd name="connsiteY9" fmla="*/ 6858000 h 6858000"/>
              <a:gd name="connsiteX10" fmla="*/ 3676443 w 5085316"/>
              <a:gd name="connsiteY10" fmla="*/ 6858000 h 6858000"/>
              <a:gd name="connsiteX11" fmla="*/ 3694784 w 5085316"/>
              <a:gd name="connsiteY11" fmla="*/ 6740622 h 6858000"/>
              <a:gd name="connsiteX12" fmla="*/ 3951992 w 5085316"/>
              <a:gd name="connsiteY12" fmla="*/ 5456270 h 6858000"/>
              <a:gd name="connsiteX13" fmla="*/ 4182874 w 5085316"/>
              <a:gd name="connsiteY13" fmla="*/ 3742052 h 6858000"/>
              <a:gd name="connsiteX14" fmla="*/ 4156306 w 5085316"/>
              <a:gd name="connsiteY14" fmla="*/ 3649929 h 6858000"/>
              <a:gd name="connsiteX15" fmla="*/ 4064184 w 5085316"/>
              <a:gd name="connsiteY15" fmla="*/ 3716250 h 6858000"/>
              <a:gd name="connsiteX16" fmla="*/ 3030952 w 5085316"/>
              <a:gd name="connsiteY16" fmla="*/ 5854962 h 6858000"/>
              <a:gd name="connsiteX17" fmla="*/ 2916632 w 5085316"/>
              <a:gd name="connsiteY17" fmla="*/ 6372674 h 6858000"/>
              <a:gd name="connsiteX18" fmla="*/ 2814145 w 5085316"/>
              <a:gd name="connsiteY18" fmla="*/ 6858000 h 6858000"/>
              <a:gd name="connsiteX19" fmla="*/ 2263738 w 5085316"/>
              <a:gd name="connsiteY19" fmla="*/ 6858000 h 6858000"/>
              <a:gd name="connsiteX20" fmla="*/ 2285379 w 5085316"/>
              <a:gd name="connsiteY20" fmla="*/ 6756138 h 6858000"/>
              <a:gd name="connsiteX21" fmla="*/ 2321863 w 5085316"/>
              <a:gd name="connsiteY21" fmla="*/ 6569394 h 6858000"/>
              <a:gd name="connsiteX22" fmla="*/ 2972653 w 5085316"/>
              <a:gd name="connsiteY22" fmla="*/ 4339900 h 6858000"/>
              <a:gd name="connsiteX23" fmla="*/ 4522504 w 5085316"/>
              <a:gd name="connsiteY23" fmla="*/ 2897654 h 6858000"/>
              <a:gd name="connsiteX24" fmla="*/ 1417643 w 5085316"/>
              <a:gd name="connsiteY24" fmla="*/ 0 h 6858000"/>
              <a:gd name="connsiteX25" fmla="*/ 2906425 w 5085316"/>
              <a:gd name="connsiteY25" fmla="*/ 0 h 6858000"/>
              <a:gd name="connsiteX26" fmla="*/ 2822061 w 5085316"/>
              <a:gd name="connsiteY26" fmla="*/ 136046 h 6858000"/>
              <a:gd name="connsiteX27" fmla="*/ 1742175 w 5085316"/>
              <a:gd name="connsiteY27" fmla="*/ 3039465 h 6858000"/>
              <a:gd name="connsiteX28" fmla="*/ 1729179 w 5085316"/>
              <a:gd name="connsiteY28" fmla="*/ 3065843 h 6858000"/>
              <a:gd name="connsiteX29" fmla="*/ 1742368 w 5085316"/>
              <a:gd name="connsiteY29" fmla="*/ 3092217 h 6858000"/>
              <a:gd name="connsiteX30" fmla="*/ 1795117 w 5085316"/>
              <a:gd name="connsiteY30" fmla="*/ 3065650 h 6858000"/>
              <a:gd name="connsiteX31" fmla="*/ 4268984 w 5085316"/>
              <a:gd name="connsiteY31" fmla="*/ 242203 h 6858000"/>
              <a:gd name="connsiteX32" fmla="*/ 4406440 w 5085316"/>
              <a:gd name="connsiteY32" fmla="*/ 0 h 6858000"/>
              <a:gd name="connsiteX33" fmla="*/ 5085314 w 5085316"/>
              <a:gd name="connsiteY33" fmla="*/ 0 h 6858000"/>
              <a:gd name="connsiteX34" fmla="*/ 5085314 w 5085316"/>
              <a:gd name="connsiteY34" fmla="*/ 147240 h 6858000"/>
              <a:gd name="connsiteX35" fmla="*/ 4933298 w 5085316"/>
              <a:gd name="connsiteY35" fmla="*/ 379343 h 6858000"/>
              <a:gd name="connsiteX36" fmla="*/ 4738476 w 5085316"/>
              <a:gd name="connsiteY36" fmla="*/ 656307 h 6858000"/>
              <a:gd name="connsiteX37" fmla="*/ 1626734 w 5085316"/>
              <a:gd name="connsiteY37" fmla="*/ 3817358 h 6858000"/>
              <a:gd name="connsiteX38" fmla="*/ 1521804 w 5085316"/>
              <a:gd name="connsiteY38" fmla="*/ 3975995 h 6858000"/>
              <a:gd name="connsiteX39" fmla="*/ 1318256 w 5085316"/>
              <a:gd name="connsiteY39" fmla="*/ 5966770 h 6858000"/>
              <a:gd name="connsiteX40" fmla="*/ 1387181 w 5085316"/>
              <a:gd name="connsiteY40" fmla="*/ 6814873 h 6858000"/>
              <a:gd name="connsiteX41" fmla="*/ 1397208 w 5085316"/>
              <a:gd name="connsiteY41" fmla="*/ 6858000 h 6858000"/>
              <a:gd name="connsiteX42" fmla="*/ 67385 w 5085316"/>
              <a:gd name="connsiteY42" fmla="*/ 6858000 h 6858000"/>
              <a:gd name="connsiteX43" fmla="*/ 61203 w 5085316"/>
              <a:gd name="connsiteY43" fmla="*/ 6821267 h 6858000"/>
              <a:gd name="connsiteX44" fmla="*/ 57 w 5085316"/>
              <a:gd name="connsiteY44" fmla="*/ 5918991 h 6858000"/>
              <a:gd name="connsiteX45" fmla="*/ 1075341 w 5085316"/>
              <a:gd name="connsiteY45" fmla="*/ 801561 h 6858000"/>
              <a:gd name="connsiteX46" fmla="*/ 1251556 w 5085316"/>
              <a:gd name="connsiteY46" fmla="*/ 35855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5085316" h="6858000">
                <a:moveTo>
                  <a:pt x="5085316" y="6391986"/>
                </a:moveTo>
                <a:lnTo>
                  <a:pt x="5085316" y="6858000"/>
                </a:lnTo>
                <a:lnTo>
                  <a:pt x="4995142" y="6858000"/>
                </a:lnTo>
                <a:lnTo>
                  <a:pt x="5040632" y="6604731"/>
                </a:lnTo>
                <a:close/>
                <a:moveTo>
                  <a:pt x="4522504" y="2897654"/>
                </a:moveTo>
                <a:cubicBezTo>
                  <a:pt x="4754792" y="2896795"/>
                  <a:pt x="4937388" y="2990650"/>
                  <a:pt x="5075034" y="3148611"/>
                </a:cubicBezTo>
                <a:lnTo>
                  <a:pt x="5085314" y="3161904"/>
                </a:lnTo>
                <a:lnTo>
                  <a:pt x="5085314" y="6391986"/>
                </a:lnTo>
                <a:lnTo>
                  <a:pt x="5040630" y="6604731"/>
                </a:lnTo>
                <a:lnTo>
                  <a:pt x="4995140" y="6858000"/>
                </a:lnTo>
                <a:lnTo>
                  <a:pt x="3676443" y="6858000"/>
                </a:lnTo>
                <a:lnTo>
                  <a:pt x="3694784" y="6740622"/>
                </a:lnTo>
                <a:cubicBezTo>
                  <a:pt x="3770566" y="6297183"/>
                  <a:pt x="3867800" y="5865188"/>
                  <a:pt x="3951992" y="5456270"/>
                </a:cubicBezTo>
                <a:cubicBezTo>
                  <a:pt x="4081194" y="4770508"/>
                  <a:pt x="4145988" y="4427625"/>
                  <a:pt x="4182874" y="3742052"/>
                </a:cubicBezTo>
                <a:cubicBezTo>
                  <a:pt x="4182684" y="3689493"/>
                  <a:pt x="4182492" y="3649929"/>
                  <a:pt x="4156306" y="3649929"/>
                </a:cubicBezTo>
                <a:cubicBezTo>
                  <a:pt x="4130126" y="3649929"/>
                  <a:pt x="4103558" y="3676304"/>
                  <a:pt x="4064184" y="3716250"/>
                </a:cubicBezTo>
                <a:cubicBezTo>
                  <a:pt x="3538967" y="4297851"/>
                  <a:pt x="3225520" y="5010752"/>
                  <a:pt x="3030952" y="5854962"/>
                </a:cubicBezTo>
                <a:cubicBezTo>
                  <a:pt x="2988713" y="6026451"/>
                  <a:pt x="2952256" y="6199564"/>
                  <a:pt x="2916632" y="6372674"/>
                </a:cubicBezTo>
                <a:lnTo>
                  <a:pt x="2814145" y="6858000"/>
                </a:lnTo>
                <a:lnTo>
                  <a:pt x="2263738" y="6858000"/>
                </a:lnTo>
                <a:lnTo>
                  <a:pt x="2285379" y="6756138"/>
                </a:lnTo>
                <a:cubicBezTo>
                  <a:pt x="2298406" y="6691588"/>
                  <a:pt x="2310539" y="6628740"/>
                  <a:pt x="2321863" y="6569394"/>
                </a:cubicBezTo>
                <a:cubicBezTo>
                  <a:pt x="2437687" y="5804698"/>
                  <a:pt x="2645822" y="5052801"/>
                  <a:pt x="2972653" y="4339900"/>
                </a:cubicBezTo>
                <a:cubicBezTo>
                  <a:pt x="3260105" y="3653562"/>
                  <a:pt x="3784560" y="2926706"/>
                  <a:pt x="4522504" y="2897654"/>
                </a:cubicBezTo>
                <a:close/>
                <a:moveTo>
                  <a:pt x="1417643" y="0"/>
                </a:moveTo>
                <a:lnTo>
                  <a:pt x="2906425" y="0"/>
                </a:lnTo>
                <a:lnTo>
                  <a:pt x="2822061" y="136046"/>
                </a:lnTo>
                <a:cubicBezTo>
                  <a:pt x="2292140" y="1036744"/>
                  <a:pt x="1992360" y="2060012"/>
                  <a:pt x="1742175" y="3039465"/>
                </a:cubicBezTo>
                <a:lnTo>
                  <a:pt x="1729179" y="3065843"/>
                </a:lnTo>
                <a:lnTo>
                  <a:pt x="1742368" y="3092217"/>
                </a:lnTo>
                <a:cubicBezTo>
                  <a:pt x="1768743" y="3092217"/>
                  <a:pt x="1781738" y="3079028"/>
                  <a:pt x="1795117" y="3065650"/>
                </a:cubicBezTo>
                <a:cubicBezTo>
                  <a:pt x="2748867" y="2162742"/>
                  <a:pt x="3612327" y="1350999"/>
                  <a:pt x="4268984" y="242203"/>
                </a:cubicBezTo>
                <a:lnTo>
                  <a:pt x="4406440" y="0"/>
                </a:lnTo>
                <a:lnTo>
                  <a:pt x="5085314" y="0"/>
                </a:lnTo>
                <a:lnTo>
                  <a:pt x="5085314" y="147240"/>
                </a:lnTo>
                <a:lnTo>
                  <a:pt x="4933298" y="379343"/>
                </a:lnTo>
                <a:cubicBezTo>
                  <a:pt x="4872280" y="468629"/>
                  <a:pt x="4807330" y="560505"/>
                  <a:pt x="4738476" y="656307"/>
                </a:cubicBezTo>
                <a:cubicBezTo>
                  <a:pt x="3754742" y="1951382"/>
                  <a:pt x="2690549" y="2877969"/>
                  <a:pt x="1626734" y="3817358"/>
                </a:cubicBezTo>
                <a:cubicBezTo>
                  <a:pt x="1560796" y="3857304"/>
                  <a:pt x="1534804" y="3910053"/>
                  <a:pt x="1521804" y="3975995"/>
                </a:cubicBezTo>
                <a:cubicBezTo>
                  <a:pt x="1392413" y="4635571"/>
                  <a:pt x="1315771" y="5307765"/>
                  <a:pt x="1318256" y="5966770"/>
                </a:cubicBezTo>
                <a:cubicBezTo>
                  <a:pt x="1326093" y="6315960"/>
                  <a:pt x="1340188" y="6572882"/>
                  <a:pt x="1387181" y="6814873"/>
                </a:cubicBezTo>
                <a:lnTo>
                  <a:pt x="1397208" y="6858000"/>
                </a:lnTo>
                <a:lnTo>
                  <a:pt x="67385" y="6858000"/>
                </a:lnTo>
                <a:lnTo>
                  <a:pt x="61203" y="6821267"/>
                </a:lnTo>
                <a:cubicBezTo>
                  <a:pt x="15017" y="6506340"/>
                  <a:pt x="1014" y="6190809"/>
                  <a:pt x="57" y="5918991"/>
                </a:cubicBezTo>
                <a:cubicBezTo>
                  <a:pt x="-6250" y="4179350"/>
                  <a:pt x="514001" y="2306117"/>
                  <a:pt x="1075341" y="801561"/>
                </a:cubicBezTo>
                <a:cubicBezTo>
                  <a:pt x="1129167" y="654752"/>
                  <a:pt x="1187930" y="506688"/>
                  <a:pt x="1251556" y="358554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0183B35-E8E5-D8B1-512C-F1D1BCA30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7650" y="604491"/>
            <a:ext cx="1910750" cy="456671"/>
          </a:xfrm>
          <a:prstGeom prst="rect">
            <a:avLst/>
          </a:prstGeom>
        </p:spPr>
      </p:pic>
      <p:sp>
        <p:nvSpPr>
          <p:cNvPr id="13" name="Subtitle 2">
            <a:extLst>
              <a:ext uri="{FF2B5EF4-FFF2-40B4-BE49-F238E27FC236}">
                <a16:creationId xmlns:a16="http://schemas.microsoft.com/office/drawing/2014/main" id="{F4BAC6E8-70D6-03EB-2CF9-73EF399350E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17" y="4359254"/>
            <a:ext cx="8548255" cy="1300978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PK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BADFC970-AC73-A3EA-1D39-CD87A3E84E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939" y="1963717"/>
            <a:ext cx="8570188" cy="2305087"/>
          </a:xfrm>
          <a:prstGeom prst="rect">
            <a:avLst/>
          </a:prstGeom>
        </p:spPr>
        <p:txBody>
          <a:bodyPr lIns="0" tIns="46800" rIns="0" anchor="b">
            <a:noAutofit/>
          </a:bodyPr>
          <a:lstStyle>
            <a:lvl1pPr algn="l">
              <a:lnSpc>
                <a:spcPct val="60000"/>
              </a:lnSpc>
              <a:defRPr sz="7200">
                <a:solidFill>
                  <a:schemeClr val="bg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4081439922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BF429B15-5519-2C6F-8527-46195F599056}"/>
              </a:ext>
            </a:extLst>
          </p:cNvPr>
          <p:cNvSpPr/>
          <p:nvPr userDrawn="1"/>
        </p:nvSpPr>
        <p:spPr>
          <a:xfrm>
            <a:off x="0" y="0"/>
            <a:ext cx="6092561" cy="6858000"/>
          </a:xfrm>
          <a:prstGeom prst="rect">
            <a:avLst/>
          </a:prstGeom>
          <a:gradFill>
            <a:gsLst>
              <a:gs pos="0">
                <a:srgbClr val="1C4C94">
                  <a:alpha val="70000"/>
                </a:srgbClr>
              </a:gs>
              <a:gs pos="99000">
                <a:srgbClr val="0379A8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692138C-F37F-2F37-65DB-69914887707D}"/>
              </a:ext>
            </a:extLst>
          </p:cNvPr>
          <p:cNvSpPr/>
          <p:nvPr userDrawn="1"/>
        </p:nvSpPr>
        <p:spPr>
          <a:xfrm>
            <a:off x="0" y="0"/>
            <a:ext cx="6099442" cy="6858000"/>
          </a:xfrm>
          <a:prstGeom prst="rect">
            <a:avLst/>
          </a:prstGeom>
          <a:gradFill>
            <a:gsLst>
              <a:gs pos="1000">
                <a:srgbClr val="1D6095"/>
              </a:gs>
              <a:gs pos="99000">
                <a:srgbClr val="0178A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8E6C4B41-FEE4-42EF-A4CC-5B1AE1E762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577045" y="1165758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l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A6FACAB6-E88A-4795-0E3C-514F7C66F79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77045" y="2837142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42" name="Text Placeholder 17">
            <a:extLst>
              <a:ext uri="{FF2B5EF4-FFF2-40B4-BE49-F238E27FC236}">
                <a16:creationId xmlns:a16="http://schemas.microsoft.com/office/drawing/2014/main" id="{0B0C0BEB-8A1B-E15D-157E-0CCEE4D2003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77045" y="4508526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570727D9-B007-1628-E384-0F12A1A124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53529" y="421909"/>
            <a:ext cx="1209635" cy="28910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8EA7766-11D0-FB4F-3D4D-55C0A5320C37}"/>
              </a:ext>
            </a:extLst>
          </p:cNvPr>
          <p:cNvCxnSpPr>
            <a:cxnSpLocks/>
          </p:cNvCxnSpPr>
          <p:nvPr userDrawn="1"/>
        </p:nvCxnSpPr>
        <p:spPr>
          <a:xfrm>
            <a:off x="7091397" y="934654"/>
            <a:ext cx="0" cy="5163773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80EBD3A1-38D1-9A23-195C-0A5F57D17AE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77045" y="2001450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E4E24B4A-0856-85DE-C580-CD81393B163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77045" y="3672834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C57F6E4D-88BC-6C59-16E3-1336C1BDBFD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577045" y="5344219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8F2D4774-7A19-26FE-BAFE-61D47E15EE48}"/>
              </a:ext>
            </a:extLst>
          </p:cNvPr>
          <p:cNvSpPr>
            <a:spLocks noGrp="1" noChangeAspect="1"/>
          </p:cNvSpPr>
          <p:nvPr>
            <p:ph type="body" sz="quarter" idx="45" hasCustomPrompt="1"/>
          </p:nvPr>
        </p:nvSpPr>
        <p:spPr>
          <a:xfrm>
            <a:off x="6821780" y="1165758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66F826E9-C23B-16A3-0473-812F0CA37F89}"/>
              </a:ext>
            </a:extLst>
          </p:cNvPr>
          <p:cNvSpPr>
            <a:spLocks noGrp="1" noChangeAspect="1"/>
          </p:cNvSpPr>
          <p:nvPr>
            <p:ph type="body" sz="quarter" idx="46" hasCustomPrompt="1"/>
          </p:nvPr>
        </p:nvSpPr>
        <p:spPr>
          <a:xfrm>
            <a:off x="6821780" y="2001450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3D62A798-8AD2-3E28-1217-DBCFF358AAAC}"/>
              </a:ext>
            </a:extLst>
          </p:cNvPr>
          <p:cNvSpPr>
            <a:spLocks noGrp="1" noChangeAspect="1"/>
          </p:cNvSpPr>
          <p:nvPr>
            <p:ph type="body" sz="quarter" idx="47" hasCustomPrompt="1"/>
          </p:nvPr>
        </p:nvSpPr>
        <p:spPr>
          <a:xfrm>
            <a:off x="6821780" y="2837142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0C8DB805-D6AA-DC93-16E5-14A7CE0A20E4}"/>
              </a:ext>
            </a:extLst>
          </p:cNvPr>
          <p:cNvSpPr>
            <a:spLocks noGrp="1" noChangeAspect="1"/>
          </p:cNvSpPr>
          <p:nvPr>
            <p:ph type="body" sz="quarter" idx="48" hasCustomPrompt="1"/>
          </p:nvPr>
        </p:nvSpPr>
        <p:spPr>
          <a:xfrm>
            <a:off x="6821780" y="3672834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733E2632-6408-C1B1-0197-81EC8778BC93}"/>
              </a:ext>
            </a:extLst>
          </p:cNvPr>
          <p:cNvSpPr>
            <a:spLocks noGrp="1" noChangeAspect="1"/>
          </p:cNvSpPr>
          <p:nvPr>
            <p:ph type="body" sz="quarter" idx="49" hasCustomPrompt="1"/>
          </p:nvPr>
        </p:nvSpPr>
        <p:spPr>
          <a:xfrm>
            <a:off x="6821780" y="4508526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F2A22727-D956-DE93-AEE0-A5BD5D55394D}"/>
              </a:ext>
            </a:extLst>
          </p:cNvPr>
          <p:cNvSpPr>
            <a:spLocks noGrp="1" noChangeAspect="1"/>
          </p:cNvSpPr>
          <p:nvPr>
            <p:ph type="body" sz="quarter" idx="50" hasCustomPrompt="1"/>
          </p:nvPr>
        </p:nvSpPr>
        <p:spPr>
          <a:xfrm>
            <a:off x="6821780" y="5344219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A589B61-EDFA-D2C7-543D-BDBBB984E9D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0"/>
            <a:ext cx="6099442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C7946B9-62ED-E1C9-D784-738B6CE36A06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0">
                <a:srgbClr val="1C4C94">
                  <a:alpha val="92000"/>
                </a:srgbClr>
              </a:gs>
              <a:gs pos="99000">
                <a:srgbClr val="0379A8">
                  <a:alpha val="75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8AF2802-7DC0-FA3E-81B5-F3CDD924310F}"/>
              </a:ext>
            </a:extLst>
          </p:cNvPr>
          <p:cNvCxnSpPr>
            <a:cxnSpLocks/>
          </p:cNvCxnSpPr>
          <p:nvPr userDrawn="1"/>
        </p:nvCxnSpPr>
        <p:spPr>
          <a:xfrm>
            <a:off x="696693" y="0"/>
            <a:ext cx="0" cy="4849871"/>
          </a:xfrm>
          <a:prstGeom prst="line">
            <a:avLst/>
          </a:prstGeom>
          <a:noFill/>
          <a:ln w="38100" cap="rnd">
            <a:solidFill>
              <a:srgbClr val="F96E46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7" name="Title 1">
            <a:extLst>
              <a:ext uri="{FF2B5EF4-FFF2-40B4-BE49-F238E27FC236}">
                <a16:creationId xmlns:a16="http://schemas.microsoft.com/office/drawing/2014/main" id="{B407A0B8-DA82-9A0D-B74F-959D736A3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3609" y="1782501"/>
            <a:ext cx="3630907" cy="1347842"/>
          </a:xfrm>
          <a:prstGeom prst="rect">
            <a:avLst/>
          </a:prstGeom>
        </p:spPr>
        <p:txBody>
          <a:bodyPr anchor="b"/>
          <a:lstStyle>
            <a:lvl1pPr algn="ctr">
              <a:lnSpc>
                <a:spcPct val="6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423313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pos="4294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E77DDA1B-74C7-53FC-DB6A-6B4642A991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4010" y="6563561"/>
            <a:ext cx="943356" cy="225463"/>
          </a:xfrm>
          <a:prstGeom prst="rect">
            <a:avLst/>
          </a:prstGeom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74E8A60-FE53-3C52-C496-41844D6E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423599"/>
            <a:ext cx="10801351" cy="612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50000"/>
              </a:lnSpc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1F8E5AF-BB68-A390-BD1F-CDC33905502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95325" y="1159668"/>
            <a:ext cx="10801351" cy="5060149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F578AD08-D63F-B38B-1EEA-666BD88C0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86444" y="6566882"/>
            <a:ext cx="226822" cy="224155"/>
          </a:xfrm>
          <a:prstGeom prst="ellipse">
            <a:avLst/>
          </a:prstGeom>
          <a:ln w="19050">
            <a:solidFill>
              <a:schemeClr val="accent5"/>
            </a:solidFill>
          </a:ln>
        </p:spPr>
        <p:txBody>
          <a:bodyPr lIns="0" tIns="0" rIns="0" bIns="0" anchor="ctr"/>
          <a:lstStyle>
            <a:lvl1pPr algn="ctr">
              <a:defRPr sz="1200" b="0">
                <a:solidFill>
                  <a:schemeClr val="bg1"/>
                </a:solidFill>
                <a:latin typeface="+mj-lt"/>
              </a:defRPr>
            </a:lvl1pPr>
          </a:lstStyle>
          <a:p>
            <a:fld id="{809F87CD-0A17-480A-BA0C-CEA734C9A0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86C29C4-CA0E-6BE8-2041-F7271E4580A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816762" y="6556850"/>
            <a:ext cx="3600000" cy="252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NL"/>
              <a:t>Name of your deck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31EBE2DE-0E6C-94A2-FE40-57B5777BF7A4}"/>
              </a:ext>
            </a:extLst>
          </p:cNvPr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1723064" y="6584400"/>
            <a:ext cx="18000" cy="180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NL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9251786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731">
          <p15:clr>
            <a:srgbClr val="FBAE40"/>
          </p15:clr>
        </p15:guide>
        <p15:guide id="2" pos="438">
          <p15:clr>
            <a:srgbClr val="FBAE40"/>
          </p15:clr>
        </p15:guide>
        <p15:guide id="3" pos="7242">
          <p15:clr>
            <a:srgbClr val="FBAE40"/>
          </p15:clr>
        </p15:guide>
        <p15:guide id="4" orient="horz" pos="3929">
          <p15:clr>
            <a:srgbClr val="FBAE40"/>
          </p15:clr>
        </p15:guide>
        <p15:guide id="5" orient="horz" pos="346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BF429B15-5519-2C6F-8527-46195F599056}"/>
              </a:ext>
            </a:extLst>
          </p:cNvPr>
          <p:cNvSpPr/>
          <p:nvPr userDrawn="1"/>
        </p:nvSpPr>
        <p:spPr>
          <a:xfrm>
            <a:off x="6093600" y="0"/>
            <a:ext cx="6098400" cy="6858000"/>
          </a:xfrm>
          <a:prstGeom prst="rect">
            <a:avLst/>
          </a:prstGeom>
          <a:gradFill>
            <a:gsLst>
              <a:gs pos="0">
                <a:schemeClr val="accent2">
                  <a:alpha val="70000"/>
                </a:schemeClr>
              </a:gs>
              <a:gs pos="99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D4C1FD7-76B6-5D88-CDD3-678848765C41}"/>
              </a:ext>
            </a:extLst>
          </p:cNvPr>
          <p:cNvSpPr/>
          <p:nvPr userDrawn="1"/>
        </p:nvSpPr>
        <p:spPr>
          <a:xfrm>
            <a:off x="6092558" y="0"/>
            <a:ext cx="6099442" cy="6858000"/>
          </a:xfrm>
          <a:prstGeom prst="rect">
            <a:avLst/>
          </a:prstGeom>
          <a:gradFill flip="none" rotWithShape="1">
            <a:gsLst>
              <a:gs pos="1000">
                <a:srgbClr val="1D6095"/>
              </a:gs>
              <a:gs pos="99000">
                <a:srgbClr val="0178A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E838168-ECDE-63BE-5F3E-E6CB0C5505D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093600" y="0"/>
            <a:ext cx="60984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69C9A99-CEFD-76C2-DC01-163BC7F302A9}"/>
              </a:ext>
            </a:extLst>
          </p:cNvPr>
          <p:cNvCxnSpPr>
            <a:cxnSpLocks/>
          </p:cNvCxnSpPr>
          <p:nvPr userDrawn="1"/>
        </p:nvCxnSpPr>
        <p:spPr>
          <a:xfrm>
            <a:off x="711430" y="17780"/>
            <a:ext cx="1883224" cy="0"/>
          </a:xfrm>
          <a:prstGeom prst="line">
            <a:avLst/>
          </a:prstGeom>
          <a:noFill/>
          <a:ln w="38100" cap="rnd">
            <a:solidFill>
              <a:srgbClr val="F96E46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A1F54D7-57C0-9678-3F7B-09CAA426C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6" y="417952"/>
            <a:ext cx="4679950" cy="1224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35486DB-DE52-EF36-1742-7F4A290F6F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95290" y="1661354"/>
            <a:ext cx="4679949" cy="4558463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0ADEA059-C729-514C-E678-A9F7A7F1F8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8622" y="6393083"/>
            <a:ext cx="943356" cy="225463"/>
          </a:xfrm>
          <a:prstGeom prst="rect">
            <a:avLst/>
          </a:prstGeom>
        </p:spPr>
      </p:pic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D61050BD-FCC2-0CD2-EDA5-3A2AF8F828FC}"/>
              </a:ext>
            </a:extLst>
          </p:cNvPr>
          <p:cNvSpPr txBox="1">
            <a:spLocks/>
          </p:cNvSpPr>
          <p:nvPr userDrawn="1"/>
        </p:nvSpPr>
        <p:spPr>
          <a:xfrm>
            <a:off x="5184338" y="6396404"/>
            <a:ext cx="226822" cy="224155"/>
          </a:xfrm>
          <a:prstGeom prst="ellipse">
            <a:avLst/>
          </a:prstGeom>
          <a:ln w="19050">
            <a:solidFill>
              <a:schemeClr val="accent5"/>
            </a:solidFill>
          </a:ln>
        </p:spPr>
        <p:txBody>
          <a:bodyPr lIns="0" tIns="0" rIns="0" bIns="0" anchor="ctr"/>
          <a:lstStyle>
            <a:defPPr>
              <a:defRPr lang="en-US"/>
            </a:defPPr>
            <a:lvl1pPr marL="0" algn="ctr" defTabSz="228600" rtl="0" eaLnBrk="1" latinLnBrk="0" hangingPunct="1">
              <a:defRPr sz="12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09F87CD-0A17-480A-BA0C-CEA734C9A086}" type="slidenum">
              <a:rPr lang="en-US" smtClean="0">
                <a:solidFill>
                  <a:schemeClr val="accent1"/>
                </a:solidFill>
              </a:rPr>
              <a:pPr/>
              <a:t>‹nr.›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511CB6A-AC61-D56D-7E38-75FC85D18CF7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1341848"/>
            <a:ext cx="360000" cy="36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402C159-0DF3-218D-3C9E-F184C0556BF5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3412616"/>
            <a:ext cx="360000" cy="36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5F0009B-8A96-C45C-5C26-44B3C7F63F06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1859540"/>
            <a:ext cx="360000" cy="3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C7C1B84-80D9-8EDB-DE33-F1962543F519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2377232"/>
            <a:ext cx="360000" cy="36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16542EE-DF57-EF0C-1A8B-DE107EE2AE2D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2894924"/>
            <a:ext cx="360000" cy="36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6C71E18-6A65-D371-6DA8-98D43AFB6F1D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3930308"/>
            <a:ext cx="360000" cy="36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CDCC81D-5D0B-4F22-A053-C4ADFE21568A}"/>
              </a:ext>
            </a:extLst>
          </p:cNvPr>
          <p:cNvSpPr txBox="1"/>
          <p:nvPr userDrawn="1"/>
        </p:nvSpPr>
        <p:spPr>
          <a:xfrm>
            <a:off x="-2709668" y="1321794"/>
            <a:ext cx="2058824" cy="400110"/>
          </a:xfrm>
          <a:prstGeom prst="rect">
            <a:avLst/>
          </a:prstGeom>
          <a:noFill/>
        </p:spPr>
        <p:txBody>
          <a:bodyPr wrap="none" lIns="36000" rIns="36000" rtlCol="0" anchor="ctr">
            <a:spAutoFit/>
          </a:bodyPr>
          <a:lstStyle/>
          <a:p>
            <a:pPr algn="r"/>
            <a:r>
              <a:rPr lang="en-NL" sz="1000">
                <a:solidFill>
                  <a:schemeClr val="accent5"/>
                </a:solidFill>
              </a:rPr>
              <a:t>Use color for titles</a:t>
            </a:r>
          </a:p>
          <a:p>
            <a:pPr algn="r"/>
            <a:r>
              <a:rPr lang="en-NL" sz="1000">
                <a:solidFill>
                  <a:schemeClr val="accent5"/>
                </a:solidFill>
              </a:rPr>
              <a:t>Font type title: </a:t>
            </a:r>
            <a:r>
              <a:rPr lang="en-GB" sz="1000">
                <a:solidFill>
                  <a:schemeClr val="accent5"/>
                </a:solidFill>
              </a:rPr>
              <a:t>Browallia New, size 44</a:t>
            </a:r>
            <a:endParaRPr lang="en-NL" sz="1000">
              <a:solidFill>
                <a:schemeClr val="accent5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80E8089-B39E-8EC8-5D58-7EA046873B5F}"/>
              </a:ext>
            </a:extLst>
          </p:cNvPr>
          <p:cNvSpPr txBox="1"/>
          <p:nvPr userDrawn="1"/>
        </p:nvSpPr>
        <p:spPr>
          <a:xfrm>
            <a:off x="-2291285" y="3910251"/>
            <a:ext cx="1640441" cy="400110"/>
          </a:xfrm>
          <a:prstGeom prst="rect">
            <a:avLst/>
          </a:prstGeom>
          <a:noFill/>
        </p:spPr>
        <p:txBody>
          <a:bodyPr wrap="none" lIns="36000" rIns="36000" rtlCol="0" anchor="ctr">
            <a:spAutoFit/>
          </a:bodyPr>
          <a:lstStyle/>
          <a:p>
            <a:pPr algn="r"/>
            <a:r>
              <a:rPr lang="en-NL" sz="1000">
                <a:solidFill>
                  <a:schemeClr val="accent5"/>
                </a:solidFill>
              </a:rPr>
              <a:t>Use color for text</a:t>
            </a:r>
          </a:p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NL" sz="1000">
                <a:solidFill>
                  <a:schemeClr val="accent5"/>
                </a:solidFill>
              </a:rPr>
              <a:t>Font type text: Corbel</a:t>
            </a:r>
            <a:r>
              <a:rPr lang="en-GB" sz="1000">
                <a:solidFill>
                  <a:schemeClr val="accent5"/>
                </a:solidFill>
              </a:rPr>
              <a:t>, size 14</a:t>
            </a:r>
            <a:endParaRPr lang="en-NL" sz="1000">
              <a:solidFill>
                <a:schemeClr val="accent5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6747DC8-131A-7763-2F79-F318C3CE708B}"/>
              </a:ext>
            </a:extLst>
          </p:cNvPr>
          <p:cNvSpPr/>
          <p:nvPr userDrawn="1"/>
        </p:nvSpPr>
        <p:spPr>
          <a:xfrm>
            <a:off x="6093600" y="0"/>
            <a:ext cx="6098400" cy="6858000"/>
          </a:xfrm>
          <a:prstGeom prst="rect">
            <a:avLst/>
          </a:prstGeom>
          <a:gradFill>
            <a:gsLst>
              <a:gs pos="0">
                <a:srgbClr val="1C4C94">
                  <a:alpha val="88000"/>
                </a:srgbClr>
              </a:gs>
              <a:gs pos="99000">
                <a:srgbClr val="0379A8">
                  <a:alpha val="59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3950710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3386">
          <p15:clr>
            <a:srgbClr val="FBAE40"/>
          </p15:clr>
        </p15:guide>
        <p15:guide id="5" orient="horz" pos="346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92138C-F37F-2F37-65DB-69914887707D}"/>
              </a:ext>
            </a:extLst>
          </p:cNvPr>
          <p:cNvSpPr/>
          <p:nvPr userDrawn="1"/>
        </p:nvSpPr>
        <p:spPr>
          <a:xfrm>
            <a:off x="0" y="0"/>
            <a:ext cx="6099442" cy="6858000"/>
          </a:xfrm>
          <a:prstGeom prst="rect">
            <a:avLst/>
          </a:prstGeom>
          <a:gradFill>
            <a:gsLst>
              <a:gs pos="1000">
                <a:srgbClr val="1D6095"/>
              </a:gs>
              <a:gs pos="99000">
                <a:srgbClr val="0178A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A589B61-EDFA-D2C7-543D-BDBBB984E9D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0"/>
            <a:ext cx="6099442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F429B15-5519-2C6F-8527-46195F599056}"/>
              </a:ext>
            </a:extLst>
          </p:cNvPr>
          <p:cNvSpPr/>
          <p:nvPr userDrawn="1"/>
        </p:nvSpPr>
        <p:spPr>
          <a:xfrm>
            <a:off x="0" y="0"/>
            <a:ext cx="6098400" cy="6858000"/>
          </a:xfrm>
          <a:prstGeom prst="rect">
            <a:avLst/>
          </a:prstGeom>
          <a:gradFill>
            <a:gsLst>
              <a:gs pos="0">
                <a:srgbClr val="1C4C94">
                  <a:alpha val="70000"/>
                </a:srgbClr>
              </a:gs>
              <a:gs pos="99000">
                <a:srgbClr val="0379A8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A326497-0FDA-04A3-A9C4-D92DD339A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6726" y="417952"/>
            <a:ext cx="4679986" cy="1224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418E937-3933-87E6-D115-0782B4BC8A6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816726" y="1661354"/>
            <a:ext cx="4679950" cy="4558463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D9347A7-FB35-57F2-FA90-08568BF79F99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1341848"/>
            <a:ext cx="360000" cy="36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336033C-2E4B-29F1-0C13-CDC1B8218A3D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3412616"/>
            <a:ext cx="360000" cy="36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1C0FF8A-3C1F-DDA6-6017-F2DC6D677930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1859540"/>
            <a:ext cx="360000" cy="3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5077595-E2AB-5A16-8BB7-DF8F9626E6E5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2377232"/>
            <a:ext cx="360000" cy="36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CF381E7-50F7-4095-2097-AFA74AF4FC92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2894924"/>
            <a:ext cx="360000" cy="36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2FDD880-00B2-2CE6-00B0-54EF2A0CC23B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3930308"/>
            <a:ext cx="360000" cy="36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95AF8A3-C501-5DF6-9CD9-DCAE340F34E3}"/>
              </a:ext>
            </a:extLst>
          </p:cNvPr>
          <p:cNvSpPr txBox="1"/>
          <p:nvPr userDrawn="1"/>
        </p:nvSpPr>
        <p:spPr>
          <a:xfrm>
            <a:off x="-2709668" y="1321794"/>
            <a:ext cx="2058824" cy="400110"/>
          </a:xfrm>
          <a:prstGeom prst="rect">
            <a:avLst/>
          </a:prstGeom>
          <a:noFill/>
        </p:spPr>
        <p:txBody>
          <a:bodyPr wrap="none" lIns="36000" rIns="36000" rtlCol="0" anchor="ctr">
            <a:spAutoFit/>
          </a:bodyPr>
          <a:lstStyle/>
          <a:p>
            <a:pPr algn="r"/>
            <a:r>
              <a:rPr lang="en-NL" sz="1000">
                <a:solidFill>
                  <a:schemeClr val="accent5"/>
                </a:solidFill>
              </a:rPr>
              <a:t>Use color for titles</a:t>
            </a:r>
          </a:p>
          <a:p>
            <a:pPr algn="r"/>
            <a:r>
              <a:rPr lang="en-NL" sz="1000">
                <a:solidFill>
                  <a:schemeClr val="accent5"/>
                </a:solidFill>
              </a:rPr>
              <a:t>Font type title: </a:t>
            </a:r>
            <a:r>
              <a:rPr lang="en-GB" sz="1000">
                <a:solidFill>
                  <a:schemeClr val="accent5"/>
                </a:solidFill>
              </a:rPr>
              <a:t>Browallia New, size 44</a:t>
            </a:r>
            <a:endParaRPr lang="en-NL" sz="1000">
              <a:solidFill>
                <a:schemeClr val="accent5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B262EFC-0629-464B-8132-A6C20DE4DAF5}"/>
              </a:ext>
            </a:extLst>
          </p:cNvPr>
          <p:cNvSpPr txBox="1"/>
          <p:nvPr userDrawn="1"/>
        </p:nvSpPr>
        <p:spPr>
          <a:xfrm>
            <a:off x="-2291285" y="3910251"/>
            <a:ext cx="1640441" cy="400110"/>
          </a:xfrm>
          <a:prstGeom prst="rect">
            <a:avLst/>
          </a:prstGeom>
          <a:noFill/>
        </p:spPr>
        <p:txBody>
          <a:bodyPr wrap="none" lIns="36000" rIns="36000" rtlCol="0" anchor="ctr">
            <a:spAutoFit/>
          </a:bodyPr>
          <a:lstStyle/>
          <a:p>
            <a:pPr algn="r"/>
            <a:r>
              <a:rPr lang="en-NL" sz="1000">
                <a:solidFill>
                  <a:schemeClr val="accent5"/>
                </a:solidFill>
              </a:rPr>
              <a:t>Use color for text</a:t>
            </a:r>
          </a:p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NL" sz="1000">
                <a:solidFill>
                  <a:schemeClr val="accent5"/>
                </a:solidFill>
              </a:rPr>
              <a:t>Font type text: Corbel</a:t>
            </a:r>
            <a:r>
              <a:rPr lang="en-GB" sz="1000">
                <a:solidFill>
                  <a:schemeClr val="accent5"/>
                </a:solidFill>
              </a:rPr>
              <a:t>, size 14</a:t>
            </a:r>
            <a:endParaRPr lang="en-NL" sz="1000">
              <a:solidFill>
                <a:schemeClr val="accent5"/>
              </a:solidFill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8E5AA66-B3B6-43E5-E415-E1E05C824B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16726" y="6393083"/>
            <a:ext cx="943356" cy="225463"/>
          </a:xfrm>
          <a:prstGeom prst="rect">
            <a:avLst/>
          </a:prstGeom>
        </p:spPr>
      </p:pic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4A911F3D-5ACF-D865-EF3F-411CAE11C4D5}"/>
              </a:ext>
            </a:extLst>
          </p:cNvPr>
          <p:cNvSpPr txBox="1">
            <a:spLocks/>
          </p:cNvSpPr>
          <p:nvPr userDrawn="1"/>
        </p:nvSpPr>
        <p:spPr>
          <a:xfrm>
            <a:off x="11317940" y="6396404"/>
            <a:ext cx="226822" cy="224155"/>
          </a:xfrm>
          <a:prstGeom prst="ellipse">
            <a:avLst/>
          </a:prstGeom>
          <a:ln w="19050">
            <a:solidFill>
              <a:schemeClr val="accent5"/>
            </a:solidFill>
          </a:ln>
        </p:spPr>
        <p:txBody>
          <a:bodyPr lIns="0" tIns="0" rIns="0" bIns="0" anchor="ctr"/>
          <a:lstStyle>
            <a:defPPr>
              <a:defRPr lang="en-US"/>
            </a:defPPr>
            <a:lvl1pPr marL="0" algn="ctr" defTabSz="228600" rtl="0" eaLnBrk="1" latinLnBrk="0" hangingPunct="1">
              <a:defRPr sz="12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09F87CD-0A17-480A-BA0C-CEA734C9A086}" type="slidenum">
              <a:rPr lang="en-US" smtClean="0">
                <a:solidFill>
                  <a:schemeClr val="accent1"/>
                </a:solidFill>
              </a:rPr>
              <a:pPr/>
              <a:t>‹nr.›</a:t>
            </a:fld>
            <a:endParaRPr lang="en-US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3381886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3840">
          <p15:clr>
            <a:srgbClr val="FBAE40"/>
          </p15:clr>
        </p15:guide>
        <p15:guide id="3" pos="7242">
          <p15:clr>
            <a:srgbClr val="FBAE40"/>
          </p15:clr>
        </p15:guide>
        <p15:guide id="4" pos="4294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3D7AB2E-5F72-5AE1-CB40-8AAE48C9888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19138" y="0"/>
            <a:ext cx="3487737" cy="685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61AFB359-1889-C3AE-1620-C72C139C1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0800" y="1461346"/>
            <a:ext cx="5654246" cy="162660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60000"/>
              </a:lnSpc>
              <a:defRPr sz="54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7DF2FC3-85C5-EE62-2997-459BD99042A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260800" y="3224477"/>
            <a:ext cx="5654246" cy="228197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buNone/>
              <a:defRPr sz="15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6E03E89-9F3B-E163-4AC2-16CB3B83F0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53529" y="421909"/>
            <a:ext cx="1209635" cy="289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991876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1774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8343792-E0B7-0403-490F-1CA46DEC27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177A3"/>
              </a:gs>
              <a:gs pos="100000">
                <a:srgbClr val="1C609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6896ABFB-CF65-1CD8-B4BD-A934F23CF541}"/>
              </a:ext>
            </a:extLst>
          </p:cNvPr>
          <p:cNvSpPr/>
          <p:nvPr userDrawn="1"/>
        </p:nvSpPr>
        <p:spPr>
          <a:xfrm>
            <a:off x="1" y="0"/>
            <a:ext cx="12191999" cy="6858001"/>
          </a:xfrm>
          <a:custGeom>
            <a:avLst/>
            <a:gdLst>
              <a:gd name="connsiteX0" fmla="*/ 11262989 w 12191999"/>
              <a:gd name="connsiteY0" fmla="*/ 3649930 h 6858001"/>
              <a:gd name="connsiteX1" fmla="*/ 11289557 w 12191999"/>
              <a:gd name="connsiteY1" fmla="*/ 3742053 h 6858001"/>
              <a:gd name="connsiteX2" fmla="*/ 11058675 w 12191999"/>
              <a:gd name="connsiteY2" fmla="*/ 5456271 h 6858001"/>
              <a:gd name="connsiteX3" fmla="*/ 10801467 w 12191999"/>
              <a:gd name="connsiteY3" fmla="*/ 6740623 h 6858001"/>
              <a:gd name="connsiteX4" fmla="*/ 10783126 w 12191999"/>
              <a:gd name="connsiteY4" fmla="*/ 6858001 h 6858001"/>
              <a:gd name="connsiteX5" fmla="*/ 9920828 w 12191999"/>
              <a:gd name="connsiteY5" fmla="*/ 6858001 h 6858001"/>
              <a:gd name="connsiteX6" fmla="*/ 10023315 w 12191999"/>
              <a:gd name="connsiteY6" fmla="*/ 6372675 h 6858001"/>
              <a:gd name="connsiteX7" fmla="*/ 10137635 w 12191999"/>
              <a:gd name="connsiteY7" fmla="*/ 5854963 h 6858001"/>
              <a:gd name="connsiteX8" fmla="*/ 11170867 w 12191999"/>
              <a:gd name="connsiteY8" fmla="*/ 3716251 h 6858001"/>
              <a:gd name="connsiteX9" fmla="*/ 11262989 w 12191999"/>
              <a:gd name="connsiteY9" fmla="*/ 3649930 h 6858001"/>
              <a:gd name="connsiteX10" fmla="*/ 10013108 w 12191999"/>
              <a:gd name="connsiteY10" fmla="*/ 1 h 6858001"/>
              <a:gd name="connsiteX11" fmla="*/ 11513123 w 12191999"/>
              <a:gd name="connsiteY11" fmla="*/ 1 h 6858001"/>
              <a:gd name="connsiteX12" fmla="*/ 11375667 w 12191999"/>
              <a:gd name="connsiteY12" fmla="*/ 242204 h 6858001"/>
              <a:gd name="connsiteX13" fmla="*/ 8901800 w 12191999"/>
              <a:gd name="connsiteY13" fmla="*/ 3065651 h 6858001"/>
              <a:gd name="connsiteX14" fmla="*/ 8849051 w 12191999"/>
              <a:gd name="connsiteY14" fmla="*/ 3092218 h 6858001"/>
              <a:gd name="connsiteX15" fmla="*/ 8835862 w 12191999"/>
              <a:gd name="connsiteY15" fmla="*/ 3065844 h 6858001"/>
              <a:gd name="connsiteX16" fmla="*/ 8848858 w 12191999"/>
              <a:gd name="connsiteY16" fmla="*/ 3039466 h 6858001"/>
              <a:gd name="connsiteX17" fmla="*/ 9928744 w 12191999"/>
              <a:gd name="connsiteY17" fmla="*/ 136047 h 6858001"/>
              <a:gd name="connsiteX18" fmla="*/ 0 w 12191999"/>
              <a:gd name="connsiteY18" fmla="*/ 0 h 6858001"/>
              <a:gd name="connsiteX19" fmla="*/ 8524326 w 12191999"/>
              <a:gd name="connsiteY19" fmla="*/ 0 h 6858001"/>
              <a:gd name="connsiteX20" fmla="*/ 8358239 w 12191999"/>
              <a:gd name="connsiteY20" fmla="*/ 358554 h 6858001"/>
              <a:gd name="connsiteX21" fmla="*/ 8182024 w 12191999"/>
              <a:gd name="connsiteY21" fmla="*/ 801561 h 6858001"/>
              <a:gd name="connsiteX22" fmla="*/ 7106740 w 12191999"/>
              <a:gd name="connsiteY22" fmla="*/ 5918991 h 6858001"/>
              <a:gd name="connsiteX23" fmla="*/ 7167886 w 12191999"/>
              <a:gd name="connsiteY23" fmla="*/ 6821267 h 6858001"/>
              <a:gd name="connsiteX24" fmla="*/ 7174068 w 12191999"/>
              <a:gd name="connsiteY24" fmla="*/ 6858000 h 6858001"/>
              <a:gd name="connsiteX25" fmla="*/ 0 w 12191999"/>
              <a:gd name="connsiteY25" fmla="*/ 6858000 h 6858001"/>
              <a:gd name="connsiteX26" fmla="*/ 12191997 w 12191999"/>
              <a:gd name="connsiteY26" fmla="*/ 0 h 6858001"/>
              <a:gd name="connsiteX27" fmla="*/ 12191999 w 12191999"/>
              <a:gd name="connsiteY27" fmla="*/ 0 h 6858001"/>
              <a:gd name="connsiteX28" fmla="*/ 12191999 w 12191999"/>
              <a:gd name="connsiteY28" fmla="*/ 6391986 h 6858001"/>
              <a:gd name="connsiteX29" fmla="*/ 12147315 w 12191999"/>
              <a:gd name="connsiteY29" fmla="*/ 6604731 h 6858001"/>
              <a:gd name="connsiteX30" fmla="*/ 12101825 w 12191999"/>
              <a:gd name="connsiteY30" fmla="*/ 6858000 h 6858001"/>
              <a:gd name="connsiteX31" fmla="*/ 12101823 w 12191999"/>
              <a:gd name="connsiteY31" fmla="*/ 6858000 h 6858001"/>
              <a:gd name="connsiteX32" fmla="*/ 12147313 w 12191999"/>
              <a:gd name="connsiteY32" fmla="*/ 6604731 h 6858001"/>
              <a:gd name="connsiteX33" fmla="*/ 12191997 w 12191999"/>
              <a:gd name="connsiteY33" fmla="*/ 6391986 h 6858001"/>
              <a:gd name="connsiteX34" fmla="*/ 12191997 w 12191999"/>
              <a:gd name="connsiteY34" fmla="*/ 3161904 h 6858001"/>
              <a:gd name="connsiteX35" fmla="*/ 12181717 w 12191999"/>
              <a:gd name="connsiteY35" fmla="*/ 3148611 h 6858001"/>
              <a:gd name="connsiteX36" fmla="*/ 11629187 w 12191999"/>
              <a:gd name="connsiteY36" fmla="*/ 2897654 h 6858001"/>
              <a:gd name="connsiteX37" fmla="*/ 10079336 w 12191999"/>
              <a:gd name="connsiteY37" fmla="*/ 4339900 h 6858001"/>
              <a:gd name="connsiteX38" fmla="*/ 9428546 w 12191999"/>
              <a:gd name="connsiteY38" fmla="*/ 6569394 h 6858001"/>
              <a:gd name="connsiteX39" fmla="*/ 9392062 w 12191999"/>
              <a:gd name="connsiteY39" fmla="*/ 6756138 h 6858001"/>
              <a:gd name="connsiteX40" fmla="*/ 9370421 w 12191999"/>
              <a:gd name="connsiteY40" fmla="*/ 6858000 h 6858001"/>
              <a:gd name="connsiteX41" fmla="*/ 8503891 w 12191999"/>
              <a:gd name="connsiteY41" fmla="*/ 6858000 h 6858001"/>
              <a:gd name="connsiteX42" fmla="*/ 8493864 w 12191999"/>
              <a:gd name="connsiteY42" fmla="*/ 6814873 h 6858001"/>
              <a:gd name="connsiteX43" fmla="*/ 8424939 w 12191999"/>
              <a:gd name="connsiteY43" fmla="*/ 5966770 h 6858001"/>
              <a:gd name="connsiteX44" fmla="*/ 8628487 w 12191999"/>
              <a:gd name="connsiteY44" fmla="*/ 3975995 h 6858001"/>
              <a:gd name="connsiteX45" fmla="*/ 8733417 w 12191999"/>
              <a:gd name="connsiteY45" fmla="*/ 3817358 h 6858001"/>
              <a:gd name="connsiteX46" fmla="*/ 11845159 w 12191999"/>
              <a:gd name="connsiteY46" fmla="*/ 656307 h 6858001"/>
              <a:gd name="connsiteX47" fmla="*/ 12039981 w 12191999"/>
              <a:gd name="connsiteY47" fmla="*/ 379343 h 6858001"/>
              <a:gd name="connsiteX48" fmla="*/ 12191997 w 12191999"/>
              <a:gd name="connsiteY48" fmla="*/ 14724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2191999" h="6858001">
                <a:moveTo>
                  <a:pt x="11262989" y="3649930"/>
                </a:moveTo>
                <a:cubicBezTo>
                  <a:pt x="11289175" y="3649930"/>
                  <a:pt x="11289367" y="3689494"/>
                  <a:pt x="11289557" y="3742053"/>
                </a:cubicBezTo>
                <a:cubicBezTo>
                  <a:pt x="11252671" y="4427626"/>
                  <a:pt x="11187877" y="4770509"/>
                  <a:pt x="11058675" y="5456271"/>
                </a:cubicBezTo>
                <a:cubicBezTo>
                  <a:pt x="10974483" y="5865189"/>
                  <a:pt x="10877249" y="6297184"/>
                  <a:pt x="10801467" y="6740623"/>
                </a:cubicBezTo>
                <a:lnTo>
                  <a:pt x="10783126" y="6858001"/>
                </a:lnTo>
                <a:lnTo>
                  <a:pt x="9920828" y="6858001"/>
                </a:lnTo>
                <a:lnTo>
                  <a:pt x="10023315" y="6372675"/>
                </a:lnTo>
                <a:cubicBezTo>
                  <a:pt x="10058939" y="6199565"/>
                  <a:pt x="10095396" y="6026452"/>
                  <a:pt x="10137635" y="5854963"/>
                </a:cubicBezTo>
                <a:cubicBezTo>
                  <a:pt x="10332203" y="5010753"/>
                  <a:pt x="10645650" y="4297852"/>
                  <a:pt x="11170867" y="3716251"/>
                </a:cubicBezTo>
                <a:cubicBezTo>
                  <a:pt x="11210241" y="3676305"/>
                  <a:pt x="11236809" y="3649930"/>
                  <a:pt x="11262989" y="3649930"/>
                </a:cubicBezTo>
                <a:close/>
                <a:moveTo>
                  <a:pt x="10013108" y="1"/>
                </a:moveTo>
                <a:lnTo>
                  <a:pt x="11513123" y="1"/>
                </a:lnTo>
                <a:lnTo>
                  <a:pt x="11375667" y="242204"/>
                </a:lnTo>
                <a:cubicBezTo>
                  <a:pt x="10719010" y="1351000"/>
                  <a:pt x="9855550" y="2162743"/>
                  <a:pt x="8901800" y="3065651"/>
                </a:cubicBezTo>
                <a:cubicBezTo>
                  <a:pt x="8888421" y="3079029"/>
                  <a:pt x="8875426" y="3092218"/>
                  <a:pt x="8849051" y="3092218"/>
                </a:cubicBezTo>
                <a:lnTo>
                  <a:pt x="8835862" y="3065844"/>
                </a:lnTo>
                <a:lnTo>
                  <a:pt x="8848858" y="3039466"/>
                </a:lnTo>
                <a:cubicBezTo>
                  <a:pt x="9099043" y="2060013"/>
                  <a:pt x="9398823" y="1036745"/>
                  <a:pt x="9928744" y="136047"/>
                </a:cubicBezTo>
                <a:close/>
                <a:moveTo>
                  <a:pt x="0" y="0"/>
                </a:moveTo>
                <a:lnTo>
                  <a:pt x="8524326" y="0"/>
                </a:lnTo>
                <a:lnTo>
                  <a:pt x="8358239" y="358554"/>
                </a:lnTo>
                <a:cubicBezTo>
                  <a:pt x="8294613" y="506688"/>
                  <a:pt x="8235850" y="654752"/>
                  <a:pt x="8182024" y="801561"/>
                </a:cubicBezTo>
                <a:cubicBezTo>
                  <a:pt x="7620684" y="2306117"/>
                  <a:pt x="7100433" y="4179350"/>
                  <a:pt x="7106740" y="5918991"/>
                </a:cubicBezTo>
                <a:cubicBezTo>
                  <a:pt x="7107697" y="6190809"/>
                  <a:pt x="7121700" y="6506340"/>
                  <a:pt x="7167886" y="6821267"/>
                </a:cubicBezTo>
                <a:lnTo>
                  <a:pt x="7174068" y="6858000"/>
                </a:lnTo>
                <a:lnTo>
                  <a:pt x="0" y="6858000"/>
                </a:lnTo>
                <a:close/>
                <a:moveTo>
                  <a:pt x="12191997" y="0"/>
                </a:moveTo>
                <a:lnTo>
                  <a:pt x="12191999" y="0"/>
                </a:lnTo>
                <a:lnTo>
                  <a:pt x="12191999" y="6391986"/>
                </a:lnTo>
                <a:lnTo>
                  <a:pt x="12147315" y="6604731"/>
                </a:lnTo>
                <a:lnTo>
                  <a:pt x="12101825" y="6858000"/>
                </a:lnTo>
                <a:lnTo>
                  <a:pt x="12101823" y="6858000"/>
                </a:lnTo>
                <a:lnTo>
                  <a:pt x="12147313" y="6604731"/>
                </a:lnTo>
                <a:lnTo>
                  <a:pt x="12191997" y="6391986"/>
                </a:lnTo>
                <a:lnTo>
                  <a:pt x="12191997" y="3161904"/>
                </a:lnTo>
                <a:lnTo>
                  <a:pt x="12181717" y="3148611"/>
                </a:lnTo>
                <a:cubicBezTo>
                  <a:pt x="12044071" y="2990650"/>
                  <a:pt x="11861475" y="2896795"/>
                  <a:pt x="11629187" y="2897654"/>
                </a:cubicBezTo>
                <a:cubicBezTo>
                  <a:pt x="10891243" y="2926706"/>
                  <a:pt x="10366788" y="3653562"/>
                  <a:pt x="10079336" y="4339900"/>
                </a:cubicBezTo>
                <a:cubicBezTo>
                  <a:pt x="9752505" y="5052801"/>
                  <a:pt x="9544370" y="5804698"/>
                  <a:pt x="9428546" y="6569394"/>
                </a:cubicBezTo>
                <a:cubicBezTo>
                  <a:pt x="9417222" y="6628740"/>
                  <a:pt x="9405089" y="6691588"/>
                  <a:pt x="9392062" y="6756138"/>
                </a:cubicBezTo>
                <a:lnTo>
                  <a:pt x="9370421" y="6858000"/>
                </a:lnTo>
                <a:lnTo>
                  <a:pt x="8503891" y="6858000"/>
                </a:lnTo>
                <a:lnTo>
                  <a:pt x="8493864" y="6814873"/>
                </a:lnTo>
                <a:cubicBezTo>
                  <a:pt x="8446871" y="6572882"/>
                  <a:pt x="8432776" y="6315960"/>
                  <a:pt x="8424939" y="5966770"/>
                </a:cubicBezTo>
                <a:cubicBezTo>
                  <a:pt x="8422454" y="5307765"/>
                  <a:pt x="8499096" y="4635571"/>
                  <a:pt x="8628487" y="3975995"/>
                </a:cubicBezTo>
                <a:cubicBezTo>
                  <a:pt x="8641487" y="3910053"/>
                  <a:pt x="8667479" y="3857304"/>
                  <a:pt x="8733417" y="3817358"/>
                </a:cubicBezTo>
                <a:cubicBezTo>
                  <a:pt x="9797232" y="2877969"/>
                  <a:pt x="10861425" y="1951382"/>
                  <a:pt x="11845159" y="656307"/>
                </a:cubicBezTo>
                <a:cubicBezTo>
                  <a:pt x="11914013" y="560505"/>
                  <a:pt x="11978963" y="468629"/>
                  <a:pt x="12039981" y="379343"/>
                </a:cubicBezTo>
                <a:lnTo>
                  <a:pt x="12191997" y="1472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0183B35-E8E5-D8B1-512C-F1D1BCA30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7650" y="604491"/>
            <a:ext cx="1910750" cy="456671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60F4218-2EE0-546D-3F79-E0E719A6FCFB}"/>
              </a:ext>
            </a:extLst>
          </p:cNvPr>
          <p:cNvCxnSpPr>
            <a:cxnSpLocks/>
          </p:cNvCxnSpPr>
          <p:nvPr userDrawn="1"/>
        </p:nvCxnSpPr>
        <p:spPr>
          <a:xfrm>
            <a:off x="0" y="4220935"/>
            <a:ext cx="6249500" cy="0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ubtitle 2">
            <a:extLst>
              <a:ext uri="{FF2B5EF4-FFF2-40B4-BE49-F238E27FC236}">
                <a16:creationId xmlns:a16="http://schemas.microsoft.com/office/drawing/2014/main" id="{F4BAC6E8-70D6-03EB-2CF9-73EF399350E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16" y="4359254"/>
            <a:ext cx="8548255" cy="1300978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PK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BADFC970-AC73-A3EA-1D39-CD87A3E84E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939" y="1963717"/>
            <a:ext cx="8570188" cy="2305087"/>
          </a:xfrm>
          <a:prstGeom prst="rect">
            <a:avLst/>
          </a:prstGeom>
        </p:spPr>
        <p:txBody>
          <a:bodyPr lIns="0" tIns="46800" rIns="0" anchor="b">
            <a:noAutofit/>
          </a:bodyPr>
          <a:lstStyle>
            <a:lvl1pPr algn="l">
              <a:lnSpc>
                <a:spcPct val="60000"/>
              </a:lnSpc>
              <a:defRPr sz="7200">
                <a:solidFill>
                  <a:schemeClr val="bg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E5FE48B-DAAC-027F-E8AC-F238A14B8639}"/>
              </a:ext>
            </a:extLst>
          </p:cNvPr>
          <p:cNvCxnSpPr>
            <a:cxnSpLocks/>
          </p:cNvCxnSpPr>
          <p:nvPr userDrawn="1"/>
        </p:nvCxnSpPr>
        <p:spPr>
          <a:xfrm>
            <a:off x="527650" y="4220935"/>
            <a:ext cx="1019210" cy="0"/>
          </a:xfrm>
          <a:prstGeom prst="line">
            <a:avLst/>
          </a:prstGeom>
          <a:ln w="381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4DCE45CC-D9B6-C91F-F8F3-AE5826DDB67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27650" y="756891"/>
            <a:ext cx="1910750" cy="45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654807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25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6896ABFB-CF65-1CD8-B4BD-A934F23CF541}"/>
              </a:ext>
            </a:extLst>
          </p:cNvPr>
          <p:cNvSpPr/>
          <p:nvPr userDrawn="1"/>
        </p:nvSpPr>
        <p:spPr>
          <a:xfrm>
            <a:off x="1" y="0"/>
            <a:ext cx="12191999" cy="6858001"/>
          </a:xfrm>
          <a:custGeom>
            <a:avLst/>
            <a:gdLst>
              <a:gd name="connsiteX0" fmla="*/ 11262989 w 12191999"/>
              <a:gd name="connsiteY0" fmla="*/ 3649930 h 6858001"/>
              <a:gd name="connsiteX1" fmla="*/ 11289557 w 12191999"/>
              <a:gd name="connsiteY1" fmla="*/ 3742053 h 6858001"/>
              <a:gd name="connsiteX2" fmla="*/ 11058675 w 12191999"/>
              <a:gd name="connsiteY2" fmla="*/ 5456271 h 6858001"/>
              <a:gd name="connsiteX3" fmla="*/ 10801467 w 12191999"/>
              <a:gd name="connsiteY3" fmla="*/ 6740623 h 6858001"/>
              <a:gd name="connsiteX4" fmla="*/ 10783126 w 12191999"/>
              <a:gd name="connsiteY4" fmla="*/ 6858001 h 6858001"/>
              <a:gd name="connsiteX5" fmla="*/ 9920828 w 12191999"/>
              <a:gd name="connsiteY5" fmla="*/ 6858001 h 6858001"/>
              <a:gd name="connsiteX6" fmla="*/ 10023315 w 12191999"/>
              <a:gd name="connsiteY6" fmla="*/ 6372675 h 6858001"/>
              <a:gd name="connsiteX7" fmla="*/ 10137635 w 12191999"/>
              <a:gd name="connsiteY7" fmla="*/ 5854963 h 6858001"/>
              <a:gd name="connsiteX8" fmla="*/ 11170867 w 12191999"/>
              <a:gd name="connsiteY8" fmla="*/ 3716251 h 6858001"/>
              <a:gd name="connsiteX9" fmla="*/ 11262989 w 12191999"/>
              <a:gd name="connsiteY9" fmla="*/ 3649930 h 6858001"/>
              <a:gd name="connsiteX10" fmla="*/ 10013108 w 12191999"/>
              <a:gd name="connsiteY10" fmla="*/ 1 h 6858001"/>
              <a:gd name="connsiteX11" fmla="*/ 11513123 w 12191999"/>
              <a:gd name="connsiteY11" fmla="*/ 1 h 6858001"/>
              <a:gd name="connsiteX12" fmla="*/ 11375667 w 12191999"/>
              <a:gd name="connsiteY12" fmla="*/ 242204 h 6858001"/>
              <a:gd name="connsiteX13" fmla="*/ 8901800 w 12191999"/>
              <a:gd name="connsiteY13" fmla="*/ 3065651 h 6858001"/>
              <a:gd name="connsiteX14" fmla="*/ 8849051 w 12191999"/>
              <a:gd name="connsiteY14" fmla="*/ 3092218 h 6858001"/>
              <a:gd name="connsiteX15" fmla="*/ 8835862 w 12191999"/>
              <a:gd name="connsiteY15" fmla="*/ 3065844 h 6858001"/>
              <a:gd name="connsiteX16" fmla="*/ 8848858 w 12191999"/>
              <a:gd name="connsiteY16" fmla="*/ 3039466 h 6858001"/>
              <a:gd name="connsiteX17" fmla="*/ 9928744 w 12191999"/>
              <a:gd name="connsiteY17" fmla="*/ 136047 h 6858001"/>
              <a:gd name="connsiteX18" fmla="*/ 0 w 12191999"/>
              <a:gd name="connsiteY18" fmla="*/ 0 h 6858001"/>
              <a:gd name="connsiteX19" fmla="*/ 8524326 w 12191999"/>
              <a:gd name="connsiteY19" fmla="*/ 0 h 6858001"/>
              <a:gd name="connsiteX20" fmla="*/ 8358239 w 12191999"/>
              <a:gd name="connsiteY20" fmla="*/ 358554 h 6858001"/>
              <a:gd name="connsiteX21" fmla="*/ 8182024 w 12191999"/>
              <a:gd name="connsiteY21" fmla="*/ 801561 h 6858001"/>
              <a:gd name="connsiteX22" fmla="*/ 7106740 w 12191999"/>
              <a:gd name="connsiteY22" fmla="*/ 5918991 h 6858001"/>
              <a:gd name="connsiteX23" fmla="*/ 7167886 w 12191999"/>
              <a:gd name="connsiteY23" fmla="*/ 6821267 h 6858001"/>
              <a:gd name="connsiteX24" fmla="*/ 7174068 w 12191999"/>
              <a:gd name="connsiteY24" fmla="*/ 6858000 h 6858001"/>
              <a:gd name="connsiteX25" fmla="*/ 0 w 12191999"/>
              <a:gd name="connsiteY25" fmla="*/ 6858000 h 6858001"/>
              <a:gd name="connsiteX26" fmla="*/ 12191997 w 12191999"/>
              <a:gd name="connsiteY26" fmla="*/ 0 h 6858001"/>
              <a:gd name="connsiteX27" fmla="*/ 12191999 w 12191999"/>
              <a:gd name="connsiteY27" fmla="*/ 0 h 6858001"/>
              <a:gd name="connsiteX28" fmla="*/ 12191999 w 12191999"/>
              <a:gd name="connsiteY28" fmla="*/ 6391986 h 6858001"/>
              <a:gd name="connsiteX29" fmla="*/ 12147315 w 12191999"/>
              <a:gd name="connsiteY29" fmla="*/ 6604731 h 6858001"/>
              <a:gd name="connsiteX30" fmla="*/ 12101825 w 12191999"/>
              <a:gd name="connsiteY30" fmla="*/ 6858000 h 6858001"/>
              <a:gd name="connsiteX31" fmla="*/ 12101823 w 12191999"/>
              <a:gd name="connsiteY31" fmla="*/ 6858000 h 6858001"/>
              <a:gd name="connsiteX32" fmla="*/ 12147313 w 12191999"/>
              <a:gd name="connsiteY32" fmla="*/ 6604731 h 6858001"/>
              <a:gd name="connsiteX33" fmla="*/ 12191997 w 12191999"/>
              <a:gd name="connsiteY33" fmla="*/ 6391986 h 6858001"/>
              <a:gd name="connsiteX34" fmla="*/ 12191997 w 12191999"/>
              <a:gd name="connsiteY34" fmla="*/ 3161904 h 6858001"/>
              <a:gd name="connsiteX35" fmla="*/ 12181717 w 12191999"/>
              <a:gd name="connsiteY35" fmla="*/ 3148611 h 6858001"/>
              <a:gd name="connsiteX36" fmla="*/ 11629187 w 12191999"/>
              <a:gd name="connsiteY36" fmla="*/ 2897654 h 6858001"/>
              <a:gd name="connsiteX37" fmla="*/ 10079336 w 12191999"/>
              <a:gd name="connsiteY37" fmla="*/ 4339900 h 6858001"/>
              <a:gd name="connsiteX38" fmla="*/ 9428546 w 12191999"/>
              <a:gd name="connsiteY38" fmla="*/ 6569394 h 6858001"/>
              <a:gd name="connsiteX39" fmla="*/ 9392062 w 12191999"/>
              <a:gd name="connsiteY39" fmla="*/ 6756138 h 6858001"/>
              <a:gd name="connsiteX40" fmla="*/ 9370421 w 12191999"/>
              <a:gd name="connsiteY40" fmla="*/ 6858000 h 6858001"/>
              <a:gd name="connsiteX41" fmla="*/ 8503891 w 12191999"/>
              <a:gd name="connsiteY41" fmla="*/ 6858000 h 6858001"/>
              <a:gd name="connsiteX42" fmla="*/ 8493864 w 12191999"/>
              <a:gd name="connsiteY42" fmla="*/ 6814873 h 6858001"/>
              <a:gd name="connsiteX43" fmla="*/ 8424939 w 12191999"/>
              <a:gd name="connsiteY43" fmla="*/ 5966770 h 6858001"/>
              <a:gd name="connsiteX44" fmla="*/ 8628487 w 12191999"/>
              <a:gd name="connsiteY44" fmla="*/ 3975995 h 6858001"/>
              <a:gd name="connsiteX45" fmla="*/ 8733417 w 12191999"/>
              <a:gd name="connsiteY45" fmla="*/ 3817358 h 6858001"/>
              <a:gd name="connsiteX46" fmla="*/ 11845159 w 12191999"/>
              <a:gd name="connsiteY46" fmla="*/ 656307 h 6858001"/>
              <a:gd name="connsiteX47" fmla="*/ 12039981 w 12191999"/>
              <a:gd name="connsiteY47" fmla="*/ 379343 h 6858001"/>
              <a:gd name="connsiteX48" fmla="*/ 12191997 w 12191999"/>
              <a:gd name="connsiteY48" fmla="*/ 14724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2191999" h="6858001">
                <a:moveTo>
                  <a:pt x="11262989" y="3649930"/>
                </a:moveTo>
                <a:cubicBezTo>
                  <a:pt x="11289175" y="3649930"/>
                  <a:pt x="11289367" y="3689494"/>
                  <a:pt x="11289557" y="3742053"/>
                </a:cubicBezTo>
                <a:cubicBezTo>
                  <a:pt x="11252671" y="4427626"/>
                  <a:pt x="11187877" y="4770509"/>
                  <a:pt x="11058675" y="5456271"/>
                </a:cubicBezTo>
                <a:cubicBezTo>
                  <a:pt x="10974483" y="5865189"/>
                  <a:pt x="10877249" y="6297184"/>
                  <a:pt x="10801467" y="6740623"/>
                </a:cubicBezTo>
                <a:lnTo>
                  <a:pt x="10783126" y="6858001"/>
                </a:lnTo>
                <a:lnTo>
                  <a:pt x="9920828" y="6858001"/>
                </a:lnTo>
                <a:lnTo>
                  <a:pt x="10023315" y="6372675"/>
                </a:lnTo>
                <a:cubicBezTo>
                  <a:pt x="10058939" y="6199565"/>
                  <a:pt x="10095396" y="6026452"/>
                  <a:pt x="10137635" y="5854963"/>
                </a:cubicBezTo>
                <a:cubicBezTo>
                  <a:pt x="10332203" y="5010753"/>
                  <a:pt x="10645650" y="4297852"/>
                  <a:pt x="11170867" y="3716251"/>
                </a:cubicBezTo>
                <a:cubicBezTo>
                  <a:pt x="11210241" y="3676305"/>
                  <a:pt x="11236809" y="3649930"/>
                  <a:pt x="11262989" y="3649930"/>
                </a:cubicBezTo>
                <a:close/>
                <a:moveTo>
                  <a:pt x="10013108" y="1"/>
                </a:moveTo>
                <a:lnTo>
                  <a:pt x="11513123" y="1"/>
                </a:lnTo>
                <a:lnTo>
                  <a:pt x="11375667" y="242204"/>
                </a:lnTo>
                <a:cubicBezTo>
                  <a:pt x="10719010" y="1351000"/>
                  <a:pt x="9855550" y="2162743"/>
                  <a:pt x="8901800" y="3065651"/>
                </a:cubicBezTo>
                <a:cubicBezTo>
                  <a:pt x="8888421" y="3079029"/>
                  <a:pt x="8875426" y="3092218"/>
                  <a:pt x="8849051" y="3092218"/>
                </a:cubicBezTo>
                <a:lnTo>
                  <a:pt x="8835862" y="3065844"/>
                </a:lnTo>
                <a:lnTo>
                  <a:pt x="8848858" y="3039466"/>
                </a:lnTo>
                <a:cubicBezTo>
                  <a:pt x="9099043" y="2060013"/>
                  <a:pt x="9398823" y="1036745"/>
                  <a:pt x="9928744" y="136047"/>
                </a:cubicBezTo>
                <a:close/>
                <a:moveTo>
                  <a:pt x="0" y="0"/>
                </a:moveTo>
                <a:lnTo>
                  <a:pt x="8524326" y="0"/>
                </a:lnTo>
                <a:lnTo>
                  <a:pt x="8358239" y="358554"/>
                </a:lnTo>
                <a:cubicBezTo>
                  <a:pt x="8294613" y="506688"/>
                  <a:pt x="8235850" y="654752"/>
                  <a:pt x="8182024" y="801561"/>
                </a:cubicBezTo>
                <a:cubicBezTo>
                  <a:pt x="7620684" y="2306117"/>
                  <a:pt x="7100433" y="4179350"/>
                  <a:pt x="7106740" y="5918991"/>
                </a:cubicBezTo>
                <a:cubicBezTo>
                  <a:pt x="7107697" y="6190809"/>
                  <a:pt x="7121700" y="6506340"/>
                  <a:pt x="7167886" y="6821267"/>
                </a:cubicBezTo>
                <a:lnTo>
                  <a:pt x="7174068" y="6858000"/>
                </a:lnTo>
                <a:lnTo>
                  <a:pt x="0" y="6858000"/>
                </a:lnTo>
                <a:close/>
                <a:moveTo>
                  <a:pt x="12191997" y="0"/>
                </a:moveTo>
                <a:lnTo>
                  <a:pt x="12191999" y="0"/>
                </a:lnTo>
                <a:lnTo>
                  <a:pt x="12191999" y="6391986"/>
                </a:lnTo>
                <a:lnTo>
                  <a:pt x="12147315" y="6604731"/>
                </a:lnTo>
                <a:lnTo>
                  <a:pt x="12101825" y="6858000"/>
                </a:lnTo>
                <a:lnTo>
                  <a:pt x="12101823" y="6858000"/>
                </a:lnTo>
                <a:lnTo>
                  <a:pt x="12147313" y="6604731"/>
                </a:lnTo>
                <a:lnTo>
                  <a:pt x="12191997" y="6391986"/>
                </a:lnTo>
                <a:lnTo>
                  <a:pt x="12191997" y="3161904"/>
                </a:lnTo>
                <a:lnTo>
                  <a:pt x="12181717" y="3148611"/>
                </a:lnTo>
                <a:cubicBezTo>
                  <a:pt x="12044071" y="2990650"/>
                  <a:pt x="11861475" y="2896795"/>
                  <a:pt x="11629187" y="2897654"/>
                </a:cubicBezTo>
                <a:cubicBezTo>
                  <a:pt x="10891243" y="2926706"/>
                  <a:pt x="10366788" y="3653562"/>
                  <a:pt x="10079336" y="4339900"/>
                </a:cubicBezTo>
                <a:cubicBezTo>
                  <a:pt x="9752505" y="5052801"/>
                  <a:pt x="9544370" y="5804698"/>
                  <a:pt x="9428546" y="6569394"/>
                </a:cubicBezTo>
                <a:cubicBezTo>
                  <a:pt x="9417222" y="6628740"/>
                  <a:pt x="9405089" y="6691588"/>
                  <a:pt x="9392062" y="6756138"/>
                </a:cubicBezTo>
                <a:lnTo>
                  <a:pt x="9370421" y="6858000"/>
                </a:lnTo>
                <a:lnTo>
                  <a:pt x="8503891" y="6858000"/>
                </a:lnTo>
                <a:lnTo>
                  <a:pt x="8493864" y="6814873"/>
                </a:lnTo>
                <a:cubicBezTo>
                  <a:pt x="8446871" y="6572882"/>
                  <a:pt x="8432776" y="6315960"/>
                  <a:pt x="8424939" y="5966770"/>
                </a:cubicBezTo>
                <a:cubicBezTo>
                  <a:pt x="8422454" y="5307765"/>
                  <a:pt x="8499096" y="4635571"/>
                  <a:pt x="8628487" y="3975995"/>
                </a:cubicBezTo>
                <a:cubicBezTo>
                  <a:pt x="8641487" y="3910053"/>
                  <a:pt x="8667479" y="3857304"/>
                  <a:pt x="8733417" y="3817358"/>
                </a:cubicBezTo>
                <a:cubicBezTo>
                  <a:pt x="9797232" y="2877969"/>
                  <a:pt x="10861425" y="1951382"/>
                  <a:pt x="11845159" y="656307"/>
                </a:cubicBezTo>
                <a:cubicBezTo>
                  <a:pt x="11914013" y="560505"/>
                  <a:pt x="11978963" y="468629"/>
                  <a:pt x="12039981" y="379343"/>
                </a:cubicBezTo>
                <a:lnTo>
                  <a:pt x="12191997" y="1472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6E9DEA9B-625B-FF05-FB58-26962F8477B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106684" y="0"/>
            <a:ext cx="5085316" cy="6858000"/>
          </a:xfrm>
          <a:custGeom>
            <a:avLst/>
            <a:gdLst>
              <a:gd name="connsiteX0" fmla="*/ 5085316 w 5085316"/>
              <a:gd name="connsiteY0" fmla="*/ 6391986 h 6858000"/>
              <a:gd name="connsiteX1" fmla="*/ 5085316 w 5085316"/>
              <a:gd name="connsiteY1" fmla="*/ 6858000 h 6858000"/>
              <a:gd name="connsiteX2" fmla="*/ 4995142 w 5085316"/>
              <a:gd name="connsiteY2" fmla="*/ 6858000 h 6858000"/>
              <a:gd name="connsiteX3" fmla="*/ 5040632 w 5085316"/>
              <a:gd name="connsiteY3" fmla="*/ 6604731 h 6858000"/>
              <a:gd name="connsiteX4" fmla="*/ 4522504 w 5085316"/>
              <a:gd name="connsiteY4" fmla="*/ 2897654 h 6858000"/>
              <a:gd name="connsiteX5" fmla="*/ 5075034 w 5085316"/>
              <a:gd name="connsiteY5" fmla="*/ 3148611 h 6858000"/>
              <a:gd name="connsiteX6" fmla="*/ 5085314 w 5085316"/>
              <a:gd name="connsiteY6" fmla="*/ 3161904 h 6858000"/>
              <a:gd name="connsiteX7" fmla="*/ 5085314 w 5085316"/>
              <a:gd name="connsiteY7" fmla="*/ 6391986 h 6858000"/>
              <a:gd name="connsiteX8" fmla="*/ 5040630 w 5085316"/>
              <a:gd name="connsiteY8" fmla="*/ 6604731 h 6858000"/>
              <a:gd name="connsiteX9" fmla="*/ 4995140 w 5085316"/>
              <a:gd name="connsiteY9" fmla="*/ 6858000 h 6858000"/>
              <a:gd name="connsiteX10" fmla="*/ 3676443 w 5085316"/>
              <a:gd name="connsiteY10" fmla="*/ 6858000 h 6858000"/>
              <a:gd name="connsiteX11" fmla="*/ 3694784 w 5085316"/>
              <a:gd name="connsiteY11" fmla="*/ 6740622 h 6858000"/>
              <a:gd name="connsiteX12" fmla="*/ 3951992 w 5085316"/>
              <a:gd name="connsiteY12" fmla="*/ 5456270 h 6858000"/>
              <a:gd name="connsiteX13" fmla="*/ 4182874 w 5085316"/>
              <a:gd name="connsiteY13" fmla="*/ 3742052 h 6858000"/>
              <a:gd name="connsiteX14" fmla="*/ 4156306 w 5085316"/>
              <a:gd name="connsiteY14" fmla="*/ 3649929 h 6858000"/>
              <a:gd name="connsiteX15" fmla="*/ 4064184 w 5085316"/>
              <a:gd name="connsiteY15" fmla="*/ 3716250 h 6858000"/>
              <a:gd name="connsiteX16" fmla="*/ 3030952 w 5085316"/>
              <a:gd name="connsiteY16" fmla="*/ 5854962 h 6858000"/>
              <a:gd name="connsiteX17" fmla="*/ 2916632 w 5085316"/>
              <a:gd name="connsiteY17" fmla="*/ 6372674 h 6858000"/>
              <a:gd name="connsiteX18" fmla="*/ 2814145 w 5085316"/>
              <a:gd name="connsiteY18" fmla="*/ 6858000 h 6858000"/>
              <a:gd name="connsiteX19" fmla="*/ 2263738 w 5085316"/>
              <a:gd name="connsiteY19" fmla="*/ 6858000 h 6858000"/>
              <a:gd name="connsiteX20" fmla="*/ 2285379 w 5085316"/>
              <a:gd name="connsiteY20" fmla="*/ 6756138 h 6858000"/>
              <a:gd name="connsiteX21" fmla="*/ 2321863 w 5085316"/>
              <a:gd name="connsiteY21" fmla="*/ 6569394 h 6858000"/>
              <a:gd name="connsiteX22" fmla="*/ 2972653 w 5085316"/>
              <a:gd name="connsiteY22" fmla="*/ 4339900 h 6858000"/>
              <a:gd name="connsiteX23" fmla="*/ 4522504 w 5085316"/>
              <a:gd name="connsiteY23" fmla="*/ 2897654 h 6858000"/>
              <a:gd name="connsiteX24" fmla="*/ 1417643 w 5085316"/>
              <a:gd name="connsiteY24" fmla="*/ 0 h 6858000"/>
              <a:gd name="connsiteX25" fmla="*/ 2906425 w 5085316"/>
              <a:gd name="connsiteY25" fmla="*/ 0 h 6858000"/>
              <a:gd name="connsiteX26" fmla="*/ 2822061 w 5085316"/>
              <a:gd name="connsiteY26" fmla="*/ 136046 h 6858000"/>
              <a:gd name="connsiteX27" fmla="*/ 1742175 w 5085316"/>
              <a:gd name="connsiteY27" fmla="*/ 3039465 h 6858000"/>
              <a:gd name="connsiteX28" fmla="*/ 1729179 w 5085316"/>
              <a:gd name="connsiteY28" fmla="*/ 3065843 h 6858000"/>
              <a:gd name="connsiteX29" fmla="*/ 1742368 w 5085316"/>
              <a:gd name="connsiteY29" fmla="*/ 3092217 h 6858000"/>
              <a:gd name="connsiteX30" fmla="*/ 1795117 w 5085316"/>
              <a:gd name="connsiteY30" fmla="*/ 3065650 h 6858000"/>
              <a:gd name="connsiteX31" fmla="*/ 4268984 w 5085316"/>
              <a:gd name="connsiteY31" fmla="*/ 242203 h 6858000"/>
              <a:gd name="connsiteX32" fmla="*/ 4406440 w 5085316"/>
              <a:gd name="connsiteY32" fmla="*/ 0 h 6858000"/>
              <a:gd name="connsiteX33" fmla="*/ 5085314 w 5085316"/>
              <a:gd name="connsiteY33" fmla="*/ 0 h 6858000"/>
              <a:gd name="connsiteX34" fmla="*/ 5085314 w 5085316"/>
              <a:gd name="connsiteY34" fmla="*/ 147240 h 6858000"/>
              <a:gd name="connsiteX35" fmla="*/ 4933298 w 5085316"/>
              <a:gd name="connsiteY35" fmla="*/ 379343 h 6858000"/>
              <a:gd name="connsiteX36" fmla="*/ 4738476 w 5085316"/>
              <a:gd name="connsiteY36" fmla="*/ 656307 h 6858000"/>
              <a:gd name="connsiteX37" fmla="*/ 1626734 w 5085316"/>
              <a:gd name="connsiteY37" fmla="*/ 3817358 h 6858000"/>
              <a:gd name="connsiteX38" fmla="*/ 1521804 w 5085316"/>
              <a:gd name="connsiteY38" fmla="*/ 3975995 h 6858000"/>
              <a:gd name="connsiteX39" fmla="*/ 1318256 w 5085316"/>
              <a:gd name="connsiteY39" fmla="*/ 5966770 h 6858000"/>
              <a:gd name="connsiteX40" fmla="*/ 1387181 w 5085316"/>
              <a:gd name="connsiteY40" fmla="*/ 6814873 h 6858000"/>
              <a:gd name="connsiteX41" fmla="*/ 1397208 w 5085316"/>
              <a:gd name="connsiteY41" fmla="*/ 6858000 h 6858000"/>
              <a:gd name="connsiteX42" fmla="*/ 67385 w 5085316"/>
              <a:gd name="connsiteY42" fmla="*/ 6858000 h 6858000"/>
              <a:gd name="connsiteX43" fmla="*/ 61203 w 5085316"/>
              <a:gd name="connsiteY43" fmla="*/ 6821267 h 6858000"/>
              <a:gd name="connsiteX44" fmla="*/ 57 w 5085316"/>
              <a:gd name="connsiteY44" fmla="*/ 5918991 h 6858000"/>
              <a:gd name="connsiteX45" fmla="*/ 1075341 w 5085316"/>
              <a:gd name="connsiteY45" fmla="*/ 801561 h 6858000"/>
              <a:gd name="connsiteX46" fmla="*/ 1251556 w 5085316"/>
              <a:gd name="connsiteY46" fmla="*/ 35855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5085316" h="6858000">
                <a:moveTo>
                  <a:pt x="5085316" y="6391986"/>
                </a:moveTo>
                <a:lnTo>
                  <a:pt x="5085316" y="6858000"/>
                </a:lnTo>
                <a:lnTo>
                  <a:pt x="4995142" y="6858000"/>
                </a:lnTo>
                <a:lnTo>
                  <a:pt x="5040632" y="6604731"/>
                </a:lnTo>
                <a:close/>
                <a:moveTo>
                  <a:pt x="4522504" y="2897654"/>
                </a:moveTo>
                <a:cubicBezTo>
                  <a:pt x="4754792" y="2896795"/>
                  <a:pt x="4937388" y="2990650"/>
                  <a:pt x="5075034" y="3148611"/>
                </a:cubicBezTo>
                <a:lnTo>
                  <a:pt x="5085314" y="3161904"/>
                </a:lnTo>
                <a:lnTo>
                  <a:pt x="5085314" y="6391986"/>
                </a:lnTo>
                <a:lnTo>
                  <a:pt x="5040630" y="6604731"/>
                </a:lnTo>
                <a:lnTo>
                  <a:pt x="4995140" y="6858000"/>
                </a:lnTo>
                <a:lnTo>
                  <a:pt x="3676443" y="6858000"/>
                </a:lnTo>
                <a:lnTo>
                  <a:pt x="3694784" y="6740622"/>
                </a:lnTo>
                <a:cubicBezTo>
                  <a:pt x="3770566" y="6297183"/>
                  <a:pt x="3867800" y="5865188"/>
                  <a:pt x="3951992" y="5456270"/>
                </a:cubicBezTo>
                <a:cubicBezTo>
                  <a:pt x="4081194" y="4770508"/>
                  <a:pt x="4145988" y="4427625"/>
                  <a:pt x="4182874" y="3742052"/>
                </a:cubicBezTo>
                <a:cubicBezTo>
                  <a:pt x="4182684" y="3689493"/>
                  <a:pt x="4182492" y="3649929"/>
                  <a:pt x="4156306" y="3649929"/>
                </a:cubicBezTo>
                <a:cubicBezTo>
                  <a:pt x="4130126" y="3649929"/>
                  <a:pt x="4103558" y="3676304"/>
                  <a:pt x="4064184" y="3716250"/>
                </a:cubicBezTo>
                <a:cubicBezTo>
                  <a:pt x="3538967" y="4297851"/>
                  <a:pt x="3225520" y="5010752"/>
                  <a:pt x="3030952" y="5854962"/>
                </a:cubicBezTo>
                <a:cubicBezTo>
                  <a:pt x="2988713" y="6026451"/>
                  <a:pt x="2952256" y="6199564"/>
                  <a:pt x="2916632" y="6372674"/>
                </a:cubicBezTo>
                <a:lnTo>
                  <a:pt x="2814145" y="6858000"/>
                </a:lnTo>
                <a:lnTo>
                  <a:pt x="2263738" y="6858000"/>
                </a:lnTo>
                <a:lnTo>
                  <a:pt x="2285379" y="6756138"/>
                </a:lnTo>
                <a:cubicBezTo>
                  <a:pt x="2298406" y="6691588"/>
                  <a:pt x="2310539" y="6628740"/>
                  <a:pt x="2321863" y="6569394"/>
                </a:cubicBezTo>
                <a:cubicBezTo>
                  <a:pt x="2437687" y="5804698"/>
                  <a:pt x="2645822" y="5052801"/>
                  <a:pt x="2972653" y="4339900"/>
                </a:cubicBezTo>
                <a:cubicBezTo>
                  <a:pt x="3260105" y="3653562"/>
                  <a:pt x="3784560" y="2926706"/>
                  <a:pt x="4522504" y="2897654"/>
                </a:cubicBezTo>
                <a:close/>
                <a:moveTo>
                  <a:pt x="1417643" y="0"/>
                </a:moveTo>
                <a:lnTo>
                  <a:pt x="2906425" y="0"/>
                </a:lnTo>
                <a:lnTo>
                  <a:pt x="2822061" y="136046"/>
                </a:lnTo>
                <a:cubicBezTo>
                  <a:pt x="2292140" y="1036744"/>
                  <a:pt x="1992360" y="2060012"/>
                  <a:pt x="1742175" y="3039465"/>
                </a:cubicBezTo>
                <a:lnTo>
                  <a:pt x="1729179" y="3065843"/>
                </a:lnTo>
                <a:lnTo>
                  <a:pt x="1742368" y="3092217"/>
                </a:lnTo>
                <a:cubicBezTo>
                  <a:pt x="1768743" y="3092217"/>
                  <a:pt x="1781738" y="3079028"/>
                  <a:pt x="1795117" y="3065650"/>
                </a:cubicBezTo>
                <a:cubicBezTo>
                  <a:pt x="2748867" y="2162742"/>
                  <a:pt x="3612327" y="1350999"/>
                  <a:pt x="4268984" y="242203"/>
                </a:cubicBezTo>
                <a:lnTo>
                  <a:pt x="4406440" y="0"/>
                </a:lnTo>
                <a:lnTo>
                  <a:pt x="5085314" y="0"/>
                </a:lnTo>
                <a:lnTo>
                  <a:pt x="5085314" y="147240"/>
                </a:lnTo>
                <a:lnTo>
                  <a:pt x="4933298" y="379343"/>
                </a:lnTo>
                <a:cubicBezTo>
                  <a:pt x="4872280" y="468629"/>
                  <a:pt x="4807330" y="560505"/>
                  <a:pt x="4738476" y="656307"/>
                </a:cubicBezTo>
                <a:cubicBezTo>
                  <a:pt x="3754742" y="1951382"/>
                  <a:pt x="2690549" y="2877969"/>
                  <a:pt x="1626734" y="3817358"/>
                </a:cubicBezTo>
                <a:cubicBezTo>
                  <a:pt x="1560796" y="3857304"/>
                  <a:pt x="1534804" y="3910053"/>
                  <a:pt x="1521804" y="3975995"/>
                </a:cubicBezTo>
                <a:cubicBezTo>
                  <a:pt x="1392413" y="4635571"/>
                  <a:pt x="1315771" y="5307765"/>
                  <a:pt x="1318256" y="5966770"/>
                </a:cubicBezTo>
                <a:cubicBezTo>
                  <a:pt x="1326093" y="6315960"/>
                  <a:pt x="1340188" y="6572882"/>
                  <a:pt x="1387181" y="6814873"/>
                </a:cubicBezTo>
                <a:lnTo>
                  <a:pt x="1397208" y="6858000"/>
                </a:lnTo>
                <a:lnTo>
                  <a:pt x="67385" y="6858000"/>
                </a:lnTo>
                <a:lnTo>
                  <a:pt x="61203" y="6821267"/>
                </a:lnTo>
                <a:cubicBezTo>
                  <a:pt x="15017" y="6506340"/>
                  <a:pt x="1014" y="6190809"/>
                  <a:pt x="57" y="5918991"/>
                </a:cubicBezTo>
                <a:cubicBezTo>
                  <a:pt x="-6250" y="4179350"/>
                  <a:pt x="514001" y="2306117"/>
                  <a:pt x="1075341" y="801561"/>
                </a:cubicBezTo>
                <a:cubicBezTo>
                  <a:pt x="1129167" y="654752"/>
                  <a:pt x="1187930" y="506688"/>
                  <a:pt x="1251556" y="358554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0183B35-E8E5-D8B1-512C-F1D1BCA30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7650" y="604491"/>
            <a:ext cx="1910750" cy="456671"/>
          </a:xfrm>
          <a:prstGeom prst="rect">
            <a:avLst/>
          </a:prstGeom>
        </p:spPr>
      </p:pic>
      <p:sp>
        <p:nvSpPr>
          <p:cNvPr id="13" name="Subtitle 2">
            <a:extLst>
              <a:ext uri="{FF2B5EF4-FFF2-40B4-BE49-F238E27FC236}">
                <a16:creationId xmlns:a16="http://schemas.microsoft.com/office/drawing/2014/main" id="{F4BAC6E8-70D6-03EB-2CF9-73EF399350E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17" y="4359254"/>
            <a:ext cx="8548255" cy="1300978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PK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BADFC970-AC73-A3EA-1D39-CD87A3E84E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939" y="1963717"/>
            <a:ext cx="8570188" cy="2305087"/>
          </a:xfrm>
          <a:prstGeom prst="rect">
            <a:avLst/>
          </a:prstGeom>
        </p:spPr>
        <p:txBody>
          <a:bodyPr lIns="0" tIns="46800" rIns="0" anchor="b">
            <a:noAutofit/>
          </a:bodyPr>
          <a:lstStyle>
            <a:lvl1pPr algn="l">
              <a:lnSpc>
                <a:spcPct val="60000"/>
              </a:lnSpc>
              <a:defRPr sz="7200">
                <a:solidFill>
                  <a:schemeClr val="bg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3754537717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5963F76-9109-6F65-6235-1DE7A2E012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177A3"/>
              </a:gs>
              <a:gs pos="100000">
                <a:srgbClr val="1C609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0E0D1636-63D9-AE84-54BF-7E9D45D07715}"/>
              </a:ext>
            </a:extLst>
          </p:cNvPr>
          <p:cNvSpPr/>
          <p:nvPr userDrawn="1"/>
        </p:nvSpPr>
        <p:spPr>
          <a:xfrm>
            <a:off x="7106685" y="0"/>
            <a:ext cx="5085315" cy="6858000"/>
          </a:xfrm>
          <a:custGeom>
            <a:avLst/>
            <a:gdLst>
              <a:gd name="connsiteX0" fmla="*/ 5085315 w 5085315"/>
              <a:gd name="connsiteY0" fmla="*/ 6391986 h 6858000"/>
              <a:gd name="connsiteX1" fmla="*/ 5085315 w 5085315"/>
              <a:gd name="connsiteY1" fmla="*/ 6858000 h 6858000"/>
              <a:gd name="connsiteX2" fmla="*/ 4995141 w 5085315"/>
              <a:gd name="connsiteY2" fmla="*/ 6858000 h 6858000"/>
              <a:gd name="connsiteX3" fmla="*/ 5040631 w 5085315"/>
              <a:gd name="connsiteY3" fmla="*/ 6604731 h 6858000"/>
              <a:gd name="connsiteX4" fmla="*/ 4522503 w 5085315"/>
              <a:gd name="connsiteY4" fmla="*/ 2897654 h 6858000"/>
              <a:gd name="connsiteX5" fmla="*/ 5075033 w 5085315"/>
              <a:gd name="connsiteY5" fmla="*/ 3148611 h 6858000"/>
              <a:gd name="connsiteX6" fmla="*/ 5085313 w 5085315"/>
              <a:gd name="connsiteY6" fmla="*/ 3161904 h 6858000"/>
              <a:gd name="connsiteX7" fmla="*/ 5085313 w 5085315"/>
              <a:gd name="connsiteY7" fmla="*/ 6391986 h 6858000"/>
              <a:gd name="connsiteX8" fmla="*/ 5040629 w 5085315"/>
              <a:gd name="connsiteY8" fmla="*/ 6604731 h 6858000"/>
              <a:gd name="connsiteX9" fmla="*/ 4995139 w 5085315"/>
              <a:gd name="connsiteY9" fmla="*/ 6858000 h 6858000"/>
              <a:gd name="connsiteX10" fmla="*/ 3676442 w 5085315"/>
              <a:gd name="connsiteY10" fmla="*/ 6858000 h 6858000"/>
              <a:gd name="connsiteX11" fmla="*/ 3694783 w 5085315"/>
              <a:gd name="connsiteY11" fmla="*/ 6740622 h 6858000"/>
              <a:gd name="connsiteX12" fmla="*/ 3951991 w 5085315"/>
              <a:gd name="connsiteY12" fmla="*/ 5456270 h 6858000"/>
              <a:gd name="connsiteX13" fmla="*/ 4182873 w 5085315"/>
              <a:gd name="connsiteY13" fmla="*/ 3742052 h 6858000"/>
              <a:gd name="connsiteX14" fmla="*/ 4156305 w 5085315"/>
              <a:gd name="connsiteY14" fmla="*/ 3649929 h 6858000"/>
              <a:gd name="connsiteX15" fmla="*/ 4064183 w 5085315"/>
              <a:gd name="connsiteY15" fmla="*/ 3716250 h 6858000"/>
              <a:gd name="connsiteX16" fmla="*/ 3030951 w 5085315"/>
              <a:gd name="connsiteY16" fmla="*/ 5854962 h 6858000"/>
              <a:gd name="connsiteX17" fmla="*/ 2916631 w 5085315"/>
              <a:gd name="connsiteY17" fmla="*/ 6372674 h 6858000"/>
              <a:gd name="connsiteX18" fmla="*/ 2814144 w 5085315"/>
              <a:gd name="connsiteY18" fmla="*/ 6858000 h 6858000"/>
              <a:gd name="connsiteX19" fmla="*/ 2263737 w 5085315"/>
              <a:gd name="connsiteY19" fmla="*/ 6858000 h 6858000"/>
              <a:gd name="connsiteX20" fmla="*/ 2285378 w 5085315"/>
              <a:gd name="connsiteY20" fmla="*/ 6756138 h 6858000"/>
              <a:gd name="connsiteX21" fmla="*/ 2321862 w 5085315"/>
              <a:gd name="connsiteY21" fmla="*/ 6569394 h 6858000"/>
              <a:gd name="connsiteX22" fmla="*/ 2972652 w 5085315"/>
              <a:gd name="connsiteY22" fmla="*/ 4339900 h 6858000"/>
              <a:gd name="connsiteX23" fmla="*/ 4522503 w 5085315"/>
              <a:gd name="connsiteY23" fmla="*/ 2897654 h 6858000"/>
              <a:gd name="connsiteX24" fmla="*/ 1417642 w 5085315"/>
              <a:gd name="connsiteY24" fmla="*/ 0 h 6858000"/>
              <a:gd name="connsiteX25" fmla="*/ 2906424 w 5085315"/>
              <a:gd name="connsiteY25" fmla="*/ 0 h 6858000"/>
              <a:gd name="connsiteX26" fmla="*/ 2822060 w 5085315"/>
              <a:gd name="connsiteY26" fmla="*/ 136046 h 6858000"/>
              <a:gd name="connsiteX27" fmla="*/ 1742174 w 5085315"/>
              <a:gd name="connsiteY27" fmla="*/ 3039465 h 6858000"/>
              <a:gd name="connsiteX28" fmla="*/ 1729178 w 5085315"/>
              <a:gd name="connsiteY28" fmla="*/ 3065843 h 6858000"/>
              <a:gd name="connsiteX29" fmla="*/ 1742367 w 5085315"/>
              <a:gd name="connsiteY29" fmla="*/ 3092217 h 6858000"/>
              <a:gd name="connsiteX30" fmla="*/ 1795116 w 5085315"/>
              <a:gd name="connsiteY30" fmla="*/ 3065650 h 6858000"/>
              <a:gd name="connsiteX31" fmla="*/ 4268983 w 5085315"/>
              <a:gd name="connsiteY31" fmla="*/ 242203 h 6858000"/>
              <a:gd name="connsiteX32" fmla="*/ 4406439 w 5085315"/>
              <a:gd name="connsiteY32" fmla="*/ 0 h 6858000"/>
              <a:gd name="connsiteX33" fmla="*/ 5085313 w 5085315"/>
              <a:gd name="connsiteY33" fmla="*/ 0 h 6858000"/>
              <a:gd name="connsiteX34" fmla="*/ 5085313 w 5085315"/>
              <a:gd name="connsiteY34" fmla="*/ 147240 h 6858000"/>
              <a:gd name="connsiteX35" fmla="*/ 4933297 w 5085315"/>
              <a:gd name="connsiteY35" fmla="*/ 379343 h 6858000"/>
              <a:gd name="connsiteX36" fmla="*/ 4738475 w 5085315"/>
              <a:gd name="connsiteY36" fmla="*/ 656307 h 6858000"/>
              <a:gd name="connsiteX37" fmla="*/ 1626733 w 5085315"/>
              <a:gd name="connsiteY37" fmla="*/ 3817358 h 6858000"/>
              <a:gd name="connsiteX38" fmla="*/ 1521803 w 5085315"/>
              <a:gd name="connsiteY38" fmla="*/ 3975995 h 6858000"/>
              <a:gd name="connsiteX39" fmla="*/ 1318255 w 5085315"/>
              <a:gd name="connsiteY39" fmla="*/ 5966770 h 6858000"/>
              <a:gd name="connsiteX40" fmla="*/ 1387180 w 5085315"/>
              <a:gd name="connsiteY40" fmla="*/ 6814873 h 6858000"/>
              <a:gd name="connsiteX41" fmla="*/ 1397207 w 5085315"/>
              <a:gd name="connsiteY41" fmla="*/ 6858000 h 6858000"/>
              <a:gd name="connsiteX42" fmla="*/ 67384 w 5085315"/>
              <a:gd name="connsiteY42" fmla="*/ 6858000 h 6858000"/>
              <a:gd name="connsiteX43" fmla="*/ 61202 w 5085315"/>
              <a:gd name="connsiteY43" fmla="*/ 6821267 h 6858000"/>
              <a:gd name="connsiteX44" fmla="*/ 56 w 5085315"/>
              <a:gd name="connsiteY44" fmla="*/ 5918991 h 6858000"/>
              <a:gd name="connsiteX45" fmla="*/ 1075340 w 5085315"/>
              <a:gd name="connsiteY45" fmla="*/ 801561 h 6858000"/>
              <a:gd name="connsiteX46" fmla="*/ 1251555 w 5085315"/>
              <a:gd name="connsiteY46" fmla="*/ 35855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5085315" h="6858000">
                <a:moveTo>
                  <a:pt x="5085315" y="6391986"/>
                </a:moveTo>
                <a:lnTo>
                  <a:pt x="5085315" y="6858000"/>
                </a:lnTo>
                <a:lnTo>
                  <a:pt x="4995141" y="6858000"/>
                </a:lnTo>
                <a:lnTo>
                  <a:pt x="5040631" y="6604731"/>
                </a:lnTo>
                <a:close/>
                <a:moveTo>
                  <a:pt x="4522503" y="2897654"/>
                </a:moveTo>
                <a:cubicBezTo>
                  <a:pt x="4754791" y="2896795"/>
                  <a:pt x="4937387" y="2990650"/>
                  <a:pt x="5075033" y="3148611"/>
                </a:cubicBezTo>
                <a:lnTo>
                  <a:pt x="5085313" y="3161904"/>
                </a:lnTo>
                <a:lnTo>
                  <a:pt x="5085313" y="6391986"/>
                </a:lnTo>
                <a:lnTo>
                  <a:pt x="5040629" y="6604731"/>
                </a:lnTo>
                <a:lnTo>
                  <a:pt x="4995139" y="6858000"/>
                </a:lnTo>
                <a:lnTo>
                  <a:pt x="3676442" y="6858000"/>
                </a:lnTo>
                <a:lnTo>
                  <a:pt x="3694783" y="6740622"/>
                </a:lnTo>
                <a:cubicBezTo>
                  <a:pt x="3770565" y="6297183"/>
                  <a:pt x="3867799" y="5865188"/>
                  <a:pt x="3951991" y="5456270"/>
                </a:cubicBezTo>
                <a:cubicBezTo>
                  <a:pt x="4081193" y="4770508"/>
                  <a:pt x="4145987" y="4427625"/>
                  <a:pt x="4182873" y="3742052"/>
                </a:cubicBezTo>
                <a:cubicBezTo>
                  <a:pt x="4182683" y="3689493"/>
                  <a:pt x="4182491" y="3649929"/>
                  <a:pt x="4156305" y="3649929"/>
                </a:cubicBezTo>
                <a:cubicBezTo>
                  <a:pt x="4130125" y="3649929"/>
                  <a:pt x="4103557" y="3676304"/>
                  <a:pt x="4064183" y="3716250"/>
                </a:cubicBezTo>
                <a:cubicBezTo>
                  <a:pt x="3538966" y="4297851"/>
                  <a:pt x="3225519" y="5010752"/>
                  <a:pt x="3030951" y="5854962"/>
                </a:cubicBezTo>
                <a:cubicBezTo>
                  <a:pt x="2988712" y="6026451"/>
                  <a:pt x="2952255" y="6199564"/>
                  <a:pt x="2916631" y="6372674"/>
                </a:cubicBezTo>
                <a:lnTo>
                  <a:pt x="2814144" y="6858000"/>
                </a:lnTo>
                <a:lnTo>
                  <a:pt x="2263737" y="6858000"/>
                </a:lnTo>
                <a:lnTo>
                  <a:pt x="2285378" y="6756138"/>
                </a:lnTo>
                <a:cubicBezTo>
                  <a:pt x="2298405" y="6691588"/>
                  <a:pt x="2310538" y="6628740"/>
                  <a:pt x="2321862" y="6569394"/>
                </a:cubicBezTo>
                <a:cubicBezTo>
                  <a:pt x="2437686" y="5804698"/>
                  <a:pt x="2645821" y="5052801"/>
                  <a:pt x="2972652" y="4339900"/>
                </a:cubicBezTo>
                <a:cubicBezTo>
                  <a:pt x="3260104" y="3653562"/>
                  <a:pt x="3784559" y="2926706"/>
                  <a:pt x="4522503" y="2897654"/>
                </a:cubicBezTo>
                <a:close/>
                <a:moveTo>
                  <a:pt x="1417642" y="0"/>
                </a:moveTo>
                <a:lnTo>
                  <a:pt x="2906424" y="0"/>
                </a:lnTo>
                <a:lnTo>
                  <a:pt x="2822060" y="136046"/>
                </a:lnTo>
                <a:cubicBezTo>
                  <a:pt x="2292139" y="1036744"/>
                  <a:pt x="1992359" y="2060012"/>
                  <a:pt x="1742174" y="3039465"/>
                </a:cubicBezTo>
                <a:lnTo>
                  <a:pt x="1729178" y="3065843"/>
                </a:lnTo>
                <a:lnTo>
                  <a:pt x="1742367" y="3092217"/>
                </a:lnTo>
                <a:cubicBezTo>
                  <a:pt x="1768742" y="3092217"/>
                  <a:pt x="1781737" y="3079028"/>
                  <a:pt x="1795116" y="3065650"/>
                </a:cubicBezTo>
                <a:cubicBezTo>
                  <a:pt x="2748866" y="2162742"/>
                  <a:pt x="3612326" y="1350999"/>
                  <a:pt x="4268983" y="242203"/>
                </a:cubicBezTo>
                <a:lnTo>
                  <a:pt x="4406439" y="0"/>
                </a:lnTo>
                <a:lnTo>
                  <a:pt x="5085313" y="0"/>
                </a:lnTo>
                <a:lnTo>
                  <a:pt x="5085313" y="147240"/>
                </a:lnTo>
                <a:lnTo>
                  <a:pt x="4933297" y="379343"/>
                </a:lnTo>
                <a:cubicBezTo>
                  <a:pt x="4872279" y="468629"/>
                  <a:pt x="4807329" y="560505"/>
                  <a:pt x="4738475" y="656307"/>
                </a:cubicBezTo>
                <a:cubicBezTo>
                  <a:pt x="3754741" y="1951382"/>
                  <a:pt x="2690548" y="2877969"/>
                  <a:pt x="1626733" y="3817358"/>
                </a:cubicBezTo>
                <a:cubicBezTo>
                  <a:pt x="1560795" y="3857304"/>
                  <a:pt x="1534803" y="3910053"/>
                  <a:pt x="1521803" y="3975995"/>
                </a:cubicBezTo>
                <a:cubicBezTo>
                  <a:pt x="1392412" y="4635571"/>
                  <a:pt x="1315770" y="5307765"/>
                  <a:pt x="1318255" y="5966770"/>
                </a:cubicBezTo>
                <a:cubicBezTo>
                  <a:pt x="1326092" y="6315960"/>
                  <a:pt x="1340187" y="6572882"/>
                  <a:pt x="1387180" y="6814873"/>
                </a:cubicBezTo>
                <a:lnTo>
                  <a:pt x="1397207" y="6858000"/>
                </a:lnTo>
                <a:lnTo>
                  <a:pt x="67384" y="6858000"/>
                </a:lnTo>
                <a:lnTo>
                  <a:pt x="61202" y="6821267"/>
                </a:lnTo>
                <a:cubicBezTo>
                  <a:pt x="15016" y="6506340"/>
                  <a:pt x="1013" y="6190809"/>
                  <a:pt x="56" y="5918991"/>
                </a:cubicBezTo>
                <a:cubicBezTo>
                  <a:pt x="-6251" y="4179350"/>
                  <a:pt x="514000" y="2306117"/>
                  <a:pt x="1075340" y="801561"/>
                </a:cubicBezTo>
                <a:cubicBezTo>
                  <a:pt x="1129166" y="654752"/>
                  <a:pt x="1187929" y="506688"/>
                  <a:pt x="1251555" y="358554"/>
                </a:cubicBezTo>
                <a:close/>
              </a:path>
            </a:pathLst>
          </a:custGeom>
          <a:solidFill>
            <a:srgbClr val="58A0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DE5F25C-DB68-C2FE-197B-63ADE36EC90E}"/>
              </a:ext>
            </a:extLst>
          </p:cNvPr>
          <p:cNvCxnSpPr>
            <a:cxnSpLocks/>
          </p:cNvCxnSpPr>
          <p:nvPr userDrawn="1"/>
        </p:nvCxnSpPr>
        <p:spPr>
          <a:xfrm>
            <a:off x="0" y="4085203"/>
            <a:ext cx="7000240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B335E10-390F-7CA7-891C-E957E5860526}"/>
              </a:ext>
            </a:extLst>
          </p:cNvPr>
          <p:cNvCxnSpPr>
            <a:cxnSpLocks/>
          </p:cNvCxnSpPr>
          <p:nvPr userDrawn="1"/>
        </p:nvCxnSpPr>
        <p:spPr>
          <a:xfrm>
            <a:off x="527650" y="4085203"/>
            <a:ext cx="1019210" cy="0"/>
          </a:xfrm>
          <a:prstGeom prst="line">
            <a:avLst/>
          </a:prstGeom>
          <a:ln w="381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B0183B35-E8E5-D8B1-512C-F1D1BCA30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7650" y="604491"/>
            <a:ext cx="1910750" cy="456671"/>
          </a:xfrm>
          <a:prstGeom prst="rect">
            <a:avLst/>
          </a:prstGeom>
        </p:spPr>
      </p:pic>
      <p:sp>
        <p:nvSpPr>
          <p:cNvPr id="18" name="Subtitle 2">
            <a:extLst>
              <a:ext uri="{FF2B5EF4-FFF2-40B4-BE49-F238E27FC236}">
                <a16:creationId xmlns:a16="http://schemas.microsoft.com/office/drawing/2014/main" id="{1887BD83-EA65-BC96-110C-A4982ED040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330" y="4223522"/>
            <a:ext cx="8556842" cy="1300978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PK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0B388D60-E8E6-C03C-7C74-F951BA7D47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7330" y="3075057"/>
            <a:ext cx="8556842" cy="1115890"/>
          </a:xfrm>
          <a:prstGeom prst="rect">
            <a:avLst/>
          </a:prstGeom>
        </p:spPr>
        <p:txBody>
          <a:bodyPr lIns="0" tIns="46800" rIns="0" anchor="t">
            <a:noAutofit/>
          </a:bodyPr>
          <a:lstStyle>
            <a:lvl1pPr algn="l">
              <a:lnSpc>
                <a:spcPct val="100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1904597909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BF429B15-5519-2C6F-8527-46195F599056}"/>
              </a:ext>
            </a:extLst>
          </p:cNvPr>
          <p:cNvSpPr/>
          <p:nvPr userDrawn="1"/>
        </p:nvSpPr>
        <p:spPr>
          <a:xfrm>
            <a:off x="0" y="0"/>
            <a:ext cx="6092561" cy="6858000"/>
          </a:xfrm>
          <a:prstGeom prst="rect">
            <a:avLst/>
          </a:prstGeom>
          <a:gradFill>
            <a:gsLst>
              <a:gs pos="0">
                <a:srgbClr val="1C4C94">
                  <a:alpha val="70000"/>
                </a:srgbClr>
              </a:gs>
              <a:gs pos="99000">
                <a:srgbClr val="0379A8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692138C-F37F-2F37-65DB-69914887707D}"/>
              </a:ext>
            </a:extLst>
          </p:cNvPr>
          <p:cNvSpPr/>
          <p:nvPr userDrawn="1"/>
        </p:nvSpPr>
        <p:spPr>
          <a:xfrm>
            <a:off x="0" y="0"/>
            <a:ext cx="6099442" cy="6858000"/>
          </a:xfrm>
          <a:prstGeom prst="rect">
            <a:avLst/>
          </a:prstGeom>
          <a:gradFill>
            <a:gsLst>
              <a:gs pos="1000">
                <a:srgbClr val="1D6095"/>
              </a:gs>
              <a:gs pos="99000">
                <a:srgbClr val="0178A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8E6C4B41-FEE4-42EF-A4CC-5B1AE1E762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577045" y="1165758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l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A6FACAB6-E88A-4795-0E3C-514F7C66F79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77045" y="2837142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42" name="Text Placeholder 17">
            <a:extLst>
              <a:ext uri="{FF2B5EF4-FFF2-40B4-BE49-F238E27FC236}">
                <a16:creationId xmlns:a16="http://schemas.microsoft.com/office/drawing/2014/main" id="{0B0C0BEB-8A1B-E15D-157E-0CCEE4D2003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77045" y="4508526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570727D9-B007-1628-E384-0F12A1A124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53529" y="421909"/>
            <a:ext cx="1209635" cy="289104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8EA7766-11D0-FB4F-3D4D-55C0A5320C37}"/>
              </a:ext>
            </a:extLst>
          </p:cNvPr>
          <p:cNvCxnSpPr>
            <a:cxnSpLocks/>
          </p:cNvCxnSpPr>
          <p:nvPr userDrawn="1"/>
        </p:nvCxnSpPr>
        <p:spPr>
          <a:xfrm>
            <a:off x="7091397" y="934654"/>
            <a:ext cx="0" cy="5163773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80EBD3A1-38D1-9A23-195C-0A5F57D17AE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77045" y="2001450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E4E24B4A-0856-85DE-C580-CD81393B163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77045" y="3672834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C57F6E4D-88BC-6C59-16E3-1336C1BDBFD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577045" y="5344219"/>
            <a:ext cx="3919630" cy="540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Add title her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8F2D4774-7A19-26FE-BAFE-61D47E15EE48}"/>
              </a:ext>
            </a:extLst>
          </p:cNvPr>
          <p:cNvSpPr>
            <a:spLocks noGrp="1" noChangeAspect="1"/>
          </p:cNvSpPr>
          <p:nvPr>
            <p:ph type="body" sz="quarter" idx="45" hasCustomPrompt="1"/>
          </p:nvPr>
        </p:nvSpPr>
        <p:spPr>
          <a:xfrm>
            <a:off x="6821780" y="1165758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66F826E9-C23B-16A3-0473-812F0CA37F89}"/>
              </a:ext>
            </a:extLst>
          </p:cNvPr>
          <p:cNvSpPr>
            <a:spLocks noGrp="1" noChangeAspect="1"/>
          </p:cNvSpPr>
          <p:nvPr>
            <p:ph type="body" sz="quarter" idx="46" hasCustomPrompt="1"/>
          </p:nvPr>
        </p:nvSpPr>
        <p:spPr>
          <a:xfrm>
            <a:off x="6821780" y="2001450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3D62A798-8AD2-3E28-1217-DBCFF358AAAC}"/>
              </a:ext>
            </a:extLst>
          </p:cNvPr>
          <p:cNvSpPr>
            <a:spLocks noGrp="1" noChangeAspect="1"/>
          </p:cNvSpPr>
          <p:nvPr>
            <p:ph type="body" sz="quarter" idx="47" hasCustomPrompt="1"/>
          </p:nvPr>
        </p:nvSpPr>
        <p:spPr>
          <a:xfrm>
            <a:off x="6821780" y="2837142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0C8DB805-D6AA-DC93-16E5-14A7CE0A20E4}"/>
              </a:ext>
            </a:extLst>
          </p:cNvPr>
          <p:cNvSpPr>
            <a:spLocks noGrp="1" noChangeAspect="1"/>
          </p:cNvSpPr>
          <p:nvPr>
            <p:ph type="body" sz="quarter" idx="48" hasCustomPrompt="1"/>
          </p:nvPr>
        </p:nvSpPr>
        <p:spPr>
          <a:xfrm>
            <a:off x="6821780" y="3672834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733E2632-6408-C1B1-0197-81EC8778BC93}"/>
              </a:ext>
            </a:extLst>
          </p:cNvPr>
          <p:cNvSpPr>
            <a:spLocks noGrp="1" noChangeAspect="1"/>
          </p:cNvSpPr>
          <p:nvPr>
            <p:ph type="body" sz="quarter" idx="49" hasCustomPrompt="1"/>
          </p:nvPr>
        </p:nvSpPr>
        <p:spPr>
          <a:xfrm>
            <a:off x="6821780" y="4508526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F2A22727-D956-DE93-AEE0-A5BD5D55394D}"/>
              </a:ext>
            </a:extLst>
          </p:cNvPr>
          <p:cNvSpPr>
            <a:spLocks noGrp="1" noChangeAspect="1"/>
          </p:cNvSpPr>
          <p:nvPr>
            <p:ph type="body" sz="quarter" idx="50" hasCustomPrompt="1"/>
          </p:nvPr>
        </p:nvSpPr>
        <p:spPr>
          <a:xfrm>
            <a:off x="6821780" y="5344219"/>
            <a:ext cx="540000" cy="540000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j-lt"/>
                <a:cs typeface="Browallia New" panose="020B0604020202020204" pitchFamily="34" charset="-34"/>
              </a:defRPr>
            </a:lvl1pPr>
          </a:lstStyle>
          <a:p>
            <a:pPr lvl="0"/>
            <a:r>
              <a:rPr lang="en-NL"/>
              <a:t>#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A589B61-EDFA-D2C7-543D-BDBBB984E9D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0"/>
            <a:ext cx="6099442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C7946B9-62ED-E1C9-D784-738B6CE36A06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0">
                <a:srgbClr val="1C4C94">
                  <a:alpha val="92000"/>
                </a:srgbClr>
              </a:gs>
              <a:gs pos="99000">
                <a:srgbClr val="0379A8">
                  <a:alpha val="75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8AF2802-7DC0-FA3E-81B5-F3CDD924310F}"/>
              </a:ext>
            </a:extLst>
          </p:cNvPr>
          <p:cNvCxnSpPr>
            <a:cxnSpLocks/>
          </p:cNvCxnSpPr>
          <p:nvPr userDrawn="1"/>
        </p:nvCxnSpPr>
        <p:spPr>
          <a:xfrm>
            <a:off x="696693" y="0"/>
            <a:ext cx="0" cy="4849871"/>
          </a:xfrm>
          <a:prstGeom prst="line">
            <a:avLst/>
          </a:prstGeom>
          <a:noFill/>
          <a:ln w="38100" cap="rnd">
            <a:solidFill>
              <a:srgbClr val="F96E46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7" name="Title 1">
            <a:extLst>
              <a:ext uri="{FF2B5EF4-FFF2-40B4-BE49-F238E27FC236}">
                <a16:creationId xmlns:a16="http://schemas.microsoft.com/office/drawing/2014/main" id="{B407A0B8-DA82-9A0D-B74F-959D736A3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3609" y="1782501"/>
            <a:ext cx="3630907" cy="1347842"/>
          </a:xfrm>
          <a:prstGeom prst="rect">
            <a:avLst/>
          </a:prstGeom>
        </p:spPr>
        <p:txBody>
          <a:bodyPr anchor="b"/>
          <a:lstStyle>
            <a:lvl1pPr algn="ctr">
              <a:lnSpc>
                <a:spcPct val="6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5918647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7242">
          <p15:clr>
            <a:srgbClr val="FBAE40"/>
          </p15:clr>
        </p15:guide>
        <p15:guide id="5" pos="4294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E77DDA1B-74C7-53FC-DB6A-6B4642A991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4010" y="6563561"/>
            <a:ext cx="943356" cy="225463"/>
          </a:xfrm>
          <a:prstGeom prst="rect">
            <a:avLst/>
          </a:prstGeom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74E8A60-FE53-3C52-C496-41844D6E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423599"/>
            <a:ext cx="10801351" cy="612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50000"/>
              </a:lnSpc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1F8E5AF-BB68-A390-BD1F-CDC33905502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95325" y="1159668"/>
            <a:ext cx="10801351" cy="5060149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F578AD08-D63F-B38B-1EEA-666BD88C0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86444" y="6566882"/>
            <a:ext cx="226822" cy="224155"/>
          </a:xfrm>
          <a:prstGeom prst="ellipse">
            <a:avLst/>
          </a:prstGeom>
          <a:ln w="19050">
            <a:solidFill>
              <a:schemeClr val="accent5"/>
            </a:solidFill>
          </a:ln>
        </p:spPr>
        <p:txBody>
          <a:bodyPr lIns="0" tIns="0" rIns="0" bIns="0" anchor="ctr"/>
          <a:lstStyle>
            <a:lvl1pPr algn="ctr">
              <a:defRPr sz="1200" b="0">
                <a:solidFill>
                  <a:schemeClr val="bg1"/>
                </a:solidFill>
                <a:latin typeface="+mj-lt"/>
              </a:defRPr>
            </a:lvl1pPr>
          </a:lstStyle>
          <a:p>
            <a:fld id="{809F87CD-0A17-480A-BA0C-CEA734C9A0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86C29C4-CA0E-6BE8-2041-F7271E4580A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816762" y="6556850"/>
            <a:ext cx="3600000" cy="252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NL"/>
              <a:t>Name of your deck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31EBE2DE-0E6C-94A2-FE40-57B5777BF7A4}"/>
              </a:ext>
            </a:extLst>
          </p:cNvPr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1723064" y="6584400"/>
            <a:ext cx="18000" cy="180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lIns="0" tIns="0" rIns="0" bIns="0" anchor="ctr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NL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81132526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731">
          <p15:clr>
            <a:srgbClr val="FBAE40"/>
          </p15:clr>
        </p15:guide>
        <p15:guide id="2" pos="438">
          <p15:clr>
            <a:srgbClr val="FBAE40"/>
          </p15:clr>
        </p15:guide>
        <p15:guide id="3" pos="7242">
          <p15:clr>
            <a:srgbClr val="FBAE40"/>
          </p15:clr>
        </p15:guide>
        <p15:guide id="4" orient="horz" pos="3929">
          <p15:clr>
            <a:srgbClr val="FBAE40"/>
          </p15:clr>
        </p15:guide>
        <p15:guide id="5" orient="horz" pos="346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BF429B15-5519-2C6F-8527-46195F599056}"/>
              </a:ext>
            </a:extLst>
          </p:cNvPr>
          <p:cNvSpPr/>
          <p:nvPr userDrawn="1"/>
        </p:nvSpPr>
        <p:spPr>
          <a:xfrm>
            <a:off x="6093600" y="0"/>
            <a:ext cx="6098400" cy="6858000"/>
          </a:xfrm>
          <a:prstGeom prst="rect">
            <a:avLst/>
          </a:prstGeom>
          <a:gradFill>
            <a:gsLst>
              <a:gs pos="0">
                <a:schemeClr val="accent2">
                  <a:alpha val="70000"/>
                </a:schemeClr>
              </a:gs>
              <a:gs pos="99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D4C1FD7-76B6-5D88-CDD3-678848765C41}"/>
              </a:ext>
            </a:extLst>
          </p:cNvPr>
          <p:cNvSpPr/>
          <p:nvPr userDrawn="1"/>
        </p:nvSpPr>
        <p:spPr>
          <a:xfrm>
            <a:off x="6092558" y="0"/>
            <a:ext cx="6099442" cy="6858000"/>
          </a:xfrm>
          <a:prstGeom prst="rect">
            <a:avLst/>
          </a:prstGeom>
          <a:gradFill flip="none" rotWithShape="1">
            <a:gsLst>
              <a:gs pos="1000">
                <a:srgbClr val="1D6095"/>
              </a:gs>
              <a:gs pos="99000">
                <a:srgbClr val="0178A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E838168-ECDE-63BE-5F3E-E6CB0C5505D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093600" y="0"/>
            <a:ext cx="60984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69C9A99-CEFD-76C2-DC01-163BC7F302A9}"/>
              </a:ext>
            </a:extLst>
          </p:cNvPr>
          <p:cNvCxnSpPr>
            <a:cxnSpLocks/>
          </p:cNvCxnSpPr>
          <p:nvPr userDrawn="1"/>
        </p:nvCxnSpPr>
        <p:spPr>
          <a:xfrm>
            <a:off x="711430" y="17780"/>
            <a:ext cx="1883224" cy="0"/>
          </a:xfrm>
          <a:prstGeom prst="line">
            <a:avLst/>
          </a:prstGeom>
          <a:noFill/>
          <a:ln w="38100" cap="rnd">
            <a:solidFill>
              <a:srgbClr val="F96E46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A1F54D7-57C0-9678-3F7B-09CAA426C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6" y="417952"/>
            <a:ext cx="4679950" cy="1224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35486DB-DE52-EF36-1742-7F4A290F6F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95290" y="1661354"/>
            <a:ext cx="4679949" cy="4558463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0ADEA059-C729-514C-E678-A9F7A7F1F8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8622" y="6393083"/>
            <a:ext cx="943356" cy="225463"/>
          </a:xfrm>
          <a:prstGeom prst="rect">
            <a:avLst/>
          </a:prstGeom>
        </p:spPr>
      </p:pic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D61050BD-FCC2-0CD2-EDA5-3A2AF8F828FC}"/>
              </a:ext>
            </a:extLst>
          </p:cNvPr>
          <p:cNvSpPr txBox="1">
            <a:spLocks/>
          </p:cNvSpPr>
          <p:nvPr userDrawn="1"/>
        </p:nvSpPr>
        <p:spPr>
          <a:xfrm>
            <a:off x="5184338" y="6396404"/>
            <a:ext cx="226822" cy="224155"/>
          </a:xfrm>
          <a:prstGeom prst="ellipse">
            <a:avLst/>
          </a:prstGeom>
          <a:ln w="19050">
            <a:solidFill>
              <a:schemeClr val="accent5"/>
            </a:solidFill>
          </a:ln>
        </p:spPr>
        <p:txBody>
          <a:bodyPr lIns="0" tIns="0" rIns="0" bIns="0" anchor="ctr"/>
          <a:lstStyle>
            <a:defPPr>
              <a:defRPr lang="en-US"/>
            </a:defPPr>
            <a:lvl1pPr marL="0" algn="ctr" defTabSz="228600" rtl="0" eaLnBrk="1" latinLnBrk="0" hangingPunct="1">
              <a:defRPr sz="12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09F87CD-0A17-480A-BA0C-CEA734C9A086}" type="slidenum">
              <a:rPr lang="en-US" smtClean="0">
                <a:solidFill>
                  <a:schemeClr val="accent1"/>
                </a:solidFill>
              </a:rPr>
              <a:pPr/>
              <a:t>‹nr.›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511CB6A-AC61-D56D-7E38-75FC85D18CF7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1341848"/>
            <a:ext cx="360000" cy="36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402C159-0DF3-218D-3C9E-F184C0556BF5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3412616"/>
            <a:ext cx="360000" cy="36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5F0009B-8A96-C45C-5C26-44B3C7F63F06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1859540"/>
            <a:ext cx="360000" cy="3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C7C1B84-80D9-8EDB-DE33-F1962543F519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2377232"/>
            <a:ext cx="360000" cy="36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16542EE-DF57-EF0C-1A8B-DE107EE2AE2D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2894924"/>
            <a:ext cx="360000" cy="36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6C71E18-6A65-D371-6DA8-98D43AFB6F1D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3930308"/>
            <a:ext cx="360000" cy="36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CDCC81D-5D0B-4F22-A053-C4ADFE21568A}"/>
              </a:ext>
            </a:extLst>
          </p:cNvPr>
          <p:cNvSpPr txBox="1"/>
          <p:nvPr userDrawn="1"/>
        </p:nvSpPr>
        <p:spPr>
          <a:xfrm>
            <a:off x="-2709668" y="1321794"/>
            <a:ext cx="2058824" cy="400110"/>
          </a:xfrm>
          <a:prstGeom prst="rect">
            <a:avLst/>
          </a:prstGeom>
          <a:noFill/>
        </p:spPr>
        <p:txBody>
          <a:bodyPr wrap="none" lIns="36000" rIns="36000" rtlCol="0" anchor="ctr">
            <a:spAutoFit/>
          </a:bodyPr>
          <a:lstStyle/>
          <a:p>
            <a:pPr algn="r"/>
            <a:r>
              <a:rPr lang="en-NL" sz="1000">
                <a:solidFill>
                  <a:schemeClr val="accent5"/>
                </a:solidFill>
              </a:rPr>
              <a:t>Use color for titles</a:t>
            </a:r>
          </a:p>
          <a:p>
            <a:pPr algn="r"/>
            <a:r>
              <a:rPr lang="en-NL" sz="1000">
                <a:solidFill>
                  <a:schemeClr val="accent5"/>
                </a:solidFill>
              </a:rPr>
              <a:t>Font type title: </a:t>
            </a:r>
            <a:r>
              <a:rPr lang="en-GB" sz="1000">
                <a:solidFill>
                  <a:schemeClr val="accent5"/>
                </a:solidFill>
              </a:rPr>
              <a:t>Browallia New, size 44</a:t>
            </a:r>
            <a:endParaRPr lang="en-NL" sz="1000">
              <a:solidFill>
                <a:schemeClr val="accent5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80E8089-B39E-8EC8-5D58-7EA046873B5F}"/>
              </a:ext>
            </a:extLst>
          </p:cNvPr>
          <p:cNvSpPr txBox="1"/>
          <p:nvPr userDrawn="1"/>
        </p:nvSpPr>
        <p:spPr>
          <a:xfrm>
            <a:off x="-2291285" y="3910251"/>
            <a:ext cx="1640441" cy="400110"/>
          </a:xfrm>
          <a:prstGeom prst="rect">
            <a:avLst/>
          </a:prstGeom>
          <a:noFill/>
        </p:spPr>
        <p:txBody>
          <a:bodyPr wrap="none" lIns="36000" rIns="36000" rtlCol="0" anchor="ctr">
            <a:spAutoFit/>
          </a:bodyPr>
          <a:lstStyle/>
          <a:p>
            <a:pPr algn="r"/>
            <a:r>
              <a:rPr lang="en-NL" sz="1000">
                <a:solidFill>
                  <a:schemeClr val="accent5"/>
                </a:solidFill>
              </a:rPr>
              <a:t>Use color for text</a:t>
            </a:r>
          </a:p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NL" sz="1000">
                <a:solidFill>
                  <a:schemeClr val="accent5"/>
                </a:solidFill>
              </a:rPr>
              <a:t>Font type text: Corbel</a:t>
            </a:r>
            <a:r>
              <a:rPr lang="en-GB" sz="1000">
                <a:solidFill>
                  <a:schemeClr val="accent5"/>
                </a:solidFill>
              </a:rPr>
              <a:t>, size 14</a:t>
            </a:r>
            <a:endParaRPr lang="en-NL" sz="1000">
              <a:solidFill>
                <a:schemeClr val="accent5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6747DC8-131A-7763-2F79-F318C3CE708B}"/>
              </a:ext>
            </a:extLst>
          </p:cNvPr>
          <p:cNvSpPr/>
          <p:nvPr userDrawn="1"/>
        </p:nvSpPr>
        <p:spPr>
          <a:xfrm>
            <a:off x="6093600" y="0"/>
            <a:ext cx="6098400" cy="6858000"/>
          </a:xfrm>
          <a:prstGeom prst="rect">
            <a:avLst/>
          </a:prstGeom>
          <a:gradFill>
            <a:gsLst>
              <a:gs pos="0">
                <a:srgbClr val="1C4C94">
                  <a:alpha val="88000"/>
                </a:srgbClr>
              </a:gs>
              <a:gs pos="99000">
                <a:srgbClr val="0379A8">
                  <a:alpha val="59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9178426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pos="3386">
          <p15:clr>
            <a:srgbClr val="FBAE40"/>
          </p15:clr>
        </p15:guide>
        <p15:guide id="5" orient="horz" pos="34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92138C-F37F-2F37-65DB-69914887707D}"/>
              </a:ext>
            </a:extLst>
          </p:cNvPr>
          <p:cNvSpPr/>
          <p:nvPr userDrawn="1"/>
        </p:nvSpPr>
        <p:spPr>
          <a:xfrm>
            <a:off x="0" y="0"/>
            <a:ext cx="6099442" cy="6858000"/>
          </a:xfrm>
          <a:prstGeom prst="rect">
            <a:avLst/>
          </a:prstGeom>
          <a:gradFill>
            <a:gsLst>
              <a:gs pos="1000">
                <a:srgbClr val="1D6095"/>
              </a:gs>
              <a:gs pos="99000">
                <a:srgbClr val="0178A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A589B61-EDFA-D2C7-543D-BDBBB984E9D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0"/>
            <a:ext cx="6099442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F429B15-5519-2C6F-8527-46195F599056}"/>
              </a:ext>
            </a:extLst>
          </p:cNvPr>
          <p:cNvSpPr/>
          <p:nvPr userDrawn="1"/>
        </p:nvSpPr>
        <p:spPr>
          <a:xfrm>
            <a:off x="0" y="0"/>
            <a:ext cx="6098400" cy="6858000"/>
          </a:xfrm>
          <a:prstGeom prst="rect">
            <a:avLst/>
          </a:prstGeom>
          <a:gradFill>
            <a:gsLst>
              <a:gs pos="0">
                <a:srgbClr val="1C4C94">
                  <a:alpha val="70000"/>
                </a:srgbClr>
              </a:gs>
              <a:gs pos="99000">
                <a:srgbClr val="0379A8">
                  <a:alpha val="7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A326497-0FDA-04A3-A9C4-D92DD339A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6726" y="417952"/>
            <a:ext cx="4679986" cy="1224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418E937-3933-87E6-D115-0782B4BC8A6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816726" y="1661354"/>
            <a:ext cx="4679950" cy="4558463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D9347A7-FB35-57F2-FA90-08568BF79F99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1341848"/>
            <a:ext cx="360000" cy="36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336033C-2E4B-29F1-0C13-CDC1B8218A3D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3412616"/>
            <a:ext cx="360000" cy="36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1C0FF8A-3C1F-DDA6-6017-F2DC6D677930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1859540"/>
            <a:ext cx="360000" cy="36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5077595-E2AB-5A16-8BB7-DF8F9626E6E5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2377232"/>
            <a:ext cx="360000" cy="36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CF381E7-50F7-4095-2097-AFA74AF4FC92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2894924"/>
            <a:ext cx="360000" cy="36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2FDD880-00B2-2CE6-00B0-54EF2A0CC23B}"/>
              </a:ext>
            </a:extLst>
          </p:cNvPr>
          <p:cNvSpPr>
            <a:spLocks noChangeAspect="1"/>
          </p:cNvSpPr>
          <p:nvPr userDrawn="1"/>
        </p:nvSpPr>
        <p:spPr>
          <a:xfrm>
            <a:off x="-570263" y="3930308"/>
            <a:ext cx="360000" cy="36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95AF8A3-C501-5DF6-9CD9-DCAE340F34E3}"/>
              </a:ext>
            </a:extLst>
          </p:cNvPr>
          <p:cNvSpPr txBox="1"/>
          <p:nvPr userDrawn="1"/>
        </p:nvSpPr>
        <p:spPr>
          <a:xfrm>
            <a:off x="-2709668" y="1321794"/>
            <a:ext cx="2058824" cy="400110"/>
          </a:xfrm>
          <a:prstGeom prst="rect">
            <a:avLst/>
          </a:prstGeom>
          <a:noFill/>
        </p:spPr>
        <p:txBody>
          <a:bodyPr wrap="none" lIns="36000" rIns="36000" rtlCol="0" anchor="ctr">
            <a:spAutoFit/>
          </a:bodyPr>
          <a:lstStyle/>
          <a:p>
            <a:pPr algn="r"/>
            <a:r>
              <a:rPr lang="en-NL" sz="1000">
                <a:solidFill>
                  <a:schemeClr val="accent5"/>
                </a:solidFill>
              </a:rPr>
              <a:t>Use color for titles</a:t>
            </a:r>
          </a:p>
          <a:p>
            <a:pPr algn="r"/>
            <a:r>
              <a:rPr lang="en-NL" sz="1000">
                <a:solidFill>
                  <a:schemeClr val="accent5"/>
                </a:solidFill>
              </a:rPr>
              <a:t>Font type title: </a:t>
            </a:r>
            <a:r>
              <a:rPr lang="en-GB" sz="1000">
                <a:solidFill>
                  <a:schemeClr val="accent5"/>
                </a:solidFill>
              </a:rPr>
              <a:t>Browallia New, size 44</a:t>
            </a:r>
            <a:endParaRPr lang="en-NL" sz="1000">
              <a:solidFill>
                <a:schemeClr val="accent5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B262EFC-0629-464B-8132-A6C20DE4DAF5}"/>
              </a:ext>
            </a:extLst>
          </p:cNvPr>
          <p:cNvSpPr txBox="1"/>
          <p:nvPr userDrawn="1"/>
        </p:nvSpPr>
        <p:spPr>
          <a:xfrm>
            <a:off x="-2291285" y="3910251"/>
            <a:ext cx="1640441" cy="400110"/>
          </a:xfrm>
          <a:prstGeom prst="rect">
            <a:avLst/>
          </a:prstGeom>
          <a:noFill/>
        </p:spPr>
        <p:txBody>
          <a:bodyPr wrap="none" lIns="36000" rIns="36000" rtlCol="0" anchor="ctr">
            <a:spAutoFit/>
          </a:bodyPr>
          <a:lstStyle/>
          <a:p>
            <a:pPr algn="r"/>
            <a:r>
              <a:rPr lang="en-NL" sz="1000">
                <a:solidFill>
                  <a:schemeClr val="accent5"/>
                </a:solidFill>
              </a:rPr>
              <a:t>Use color for text</a:t>
            </a:r>
          </a:p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NL" sz="1000">
                <a:solidFill>
                  <a:schemeClr val="accent5"/>
                </a:solidFill>
              </a:rPr>
              <a:t>Font type text: Corbel</a:t>
            </a:r>
            <a:r>
              <a:rPr lang="en-GB" sz="1000">
                <a:solidFill>
                  <a:schemeClr val="accent5"/>
                </a:solidFill>
              </a:rPr>
              <a:t>, size 14</a:t>
            </a:r>
            <a:endParaRPr lang="en-NL" sz="1000">
              <a:solidFill>
                <a:schemeClr val="accent5"/>
              </a:solidFill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8E5AA66-B3B6-43E5-E415-E1E05C824B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16726" y="6393083"/>
            <a:ext cx="943356" cy="225463"/>
          </a:xfrm>
          <a:prstGeom prst="rect">
            <a:avLst/>
          </a:prstGeom>
        </p:spPr>
      </p:pic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4A911F3D-5ACF-D865-EF3F-411CAE11C4D5}"/>
              </a:ext>
            </a:extLst>
          </p:cNvPr>
          <p:cNvSpPr txBox="1">
            <a:spLocks/>
          </p:cNvSpPr>
          <p:nvPr userDrawn="1"/>
        </p:nvSpPr>
        <p:spPr>
          <a:xfrm>
            <a:off x="11317940" y="6396404"/>
            <a:ext cx="226822" cy="224155"/>
          </a:xfrm>
          <a:prstGeom prst="ellipse">
            <a:avLst/>
          </a:prstGeom>
          <a:ln w="19050">
            <a:solidFill>
              <a:schemeClr val="accent5"/>
            </a:solidFill>
          </a:ln>
        </p:spPr>
        <p:txBody>
          <a:bodyPr lIns="0" tIns="0" rIns="0" bIns="0" anchor="ctr"/>
          <a:lstStyle>
            <a:defPPr>
              <a:defRPr lang="en-US"/>
            </a:defPPr>
            <a:lvl1pPr marL="0" algn="ctr" defTabSz="228600" rtl="0" eaLnBrk="1" latinLnBrk="0" hangingPunct="1">
              <a:defRPr sz="12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09F87CD-0A17-480A-BA0C-CEA734C9A086}" type="slidenum">
              <a:rPr lang="en-US" smtClean="0">
                <a:solidFill>
                  <a:schemeClr val="accent1"/>
                </a:solidFill>
              </a:rPr>
              <a:pPr/>
              <a:t>‹nr.›</a:t>
            </a:fld>
            <a:endParaRPr lang="en-US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7691411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3840">
          <p15:clr>
            <a:srgbClr val="FBAE40"/>
          </p15:clr>
        </p15:guide>
        <p15:guide id="3" pos="7242">
          <p15:clr>
            <a:srgbClr val="FBAE40"/>
          </p15:clr>
        </p15:guide>
        <p15:guide id="4" pos="4294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3D7AB2E-5F72-5AE1-CB40-8AAE48C9888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19138" y="0"/>
            <a:ext cx="3487737" cy="6858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61AFB359-1889-C3AE-1620-C72C139C1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0800" y="1461346"/>
            <a:ext cx="5654246" cy="162660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60000"/>
              </a:lnSpc>
              <a:defRPr sz="54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7DF2FC3-85C5-EE62-2997-459BD99042A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260800" y="3224477"/>
            <a:ext cx="5654246" cy="228197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20000"/>
              </a:lnSpc>
              <a:buNone/>
              <a:defRPr sz="15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6E03E89-9F3B-E163-4AC2-16CB3B83F0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53529" y="421909"/>
            <a:ext cx="1209635" cy="289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0071779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1774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7C810C7-CEF4-CCEC-CDD0-B00FC88A6A6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9620" cy="6876000"/>
          </a:xfrm>
          <a:custGeom>
            <a:avLst/>
            <a:gdLst>
              <a:gd name="connsiteX0" fmla="*/ 0 w 12192000"/>
              <a:gd name="connsiteY0" fmla="*/ 0 h 5468938"/>
              <a:gd name="connsiteX1" fmla="*/ 12192000 w 12192000"/>
              <a:gd name="connsiteY1" fmla="*/ 0 h 5468938"/>
              <a:gd name="connsiteX2" fmla="*/ 12192000 w 12192000"/>
              <a:gd name="connsiteY2" fmla="*/ 5468938 h 5468938"/>
              <a:gd name="connsiteX3" fmla="*/ 0 w 12192000"/>
              <a:gd name="connsiteY3" fmla="*/ 5468938 h 5468938"/>
              <a:gd name="connsiteX4" fmla="*/ 0 w 12192000"/>
              <a:gd name="connsiteY4" fmla="*/ 0 h 5468938"/>
              <a:gd name="connsiteX0" fmla="*/ 0 w 12192000"/>
              <a:gd name="connsiteY0" fmla="*/ 0 h 5468938"/>
              <a:gd name="connsiteX1" fmla="*/ 12192000 w 12192000"/>
              <a:gd name="connsiteY1" fmla="*/ 0 h 5468938"/>
              <a:gd name="connsiteX2" fmla="*/ 12192000 w 12192000"/>
              <a:gd name="connsiteY2" fmla="*/ 5468938 h 5468938"/>
              <a:gd name="connsiteX3" fmla="*/ 6146800 w 12192000"/>
              <a:gd name="connsiteY3" fmla="*/ 4334405 h 5468938"/>
              <a:gd name="connsiteX4" fmla="*/ 0 w 12192000"/>
              <a:gd name="connsiteY4" fmla="*/ 0 h 5468938"/>
              <a:gd name="connsiteX0" fmla="*/ 0 w 12192000"/>
              <a:gd name="connsiteY0" fmla="*/ 0 h 6908271"/>
              <a:gd name="connsiteX1" fmla="*/ 12192000 w 12192000"/>
              <a:gd name="connsiteY1" fmla="*/ 0 h 6908271"/>
              <a:gd name="connsiteX2" fmla="*/ 12192000 w 12192000"/>
              <a:gd name="connsiteY2" fmla="*/ 6908271 h 6908271"/>
              <a:gd name="connsiteX3" fmla="*/ 6146800 w 12192000"/>
              <a:gd name="connsiteY3" fmla="*/ 4334405 h 6908271"/>
              <a:gd name="connsiteX4" fmla="*/ 0 w 12192000"/>
              <a:gd name="connsiteY4" fmla="*/ 0 h 6908271"/>
              <a:gd name="connsiteX0" fmla="*/ 0 w 12192000"/>
              <a:gd name="connsiteY0" fmla="*/ 0 h 6908271"/>
              <a:gd name="connsiteX1" fmla="*/ 12192000 w 12192000"/>
              <a:gd name="connsiteY1" fmla="*/ 0 h 6908271"/>
              <a:gd name="connsiteX2" fmla="*/ 12192000 w 12192000"/>
              <a:gd name="connsiteY2" fmla="*/ 6908271 h 6908271"/>
              <a:gd name="connsiteX3" fmla="*/ 4859867 w 12192000"/>
              <a:gd name="connsiteY3" fmla="*/ 6840539 h 6908271"/>
              <a:gd name="connsiteX4" fmla="*/ 0 w 12192000"/>
              <a:gd name="connsiteY4" fmla="*/ 0 h 6908271"/>
              <a:gd name="connsiteX0" fmla="*/ 0 w 12192000"/>
              <a:gd name="connsiteY0" fmla="*/ 0 h 6851121"/>
              <a:gd name="connsiteX1" fmla="*/ 12192000 w 12192000"/>
              <a:gd name="connsiteY1" fmla="*/ 0 h 6851121"/>
              <a:gd name="connsiteX2" fmla="*/ 12192000 w 12192000"/>
              <a:gd name="connsiteY2" fmla="*/ 6851121 h 6851121"/>
              <a:gd name="connsiteX3" fmla="*/ 4859867 w 12192000"/>
              <a:gd name="connsiteY3" fmla="*/ 6840539 h 6851121"/>
              <a:gd name="connsiteX4" fmla="*/ 0 w 12192000"/>
              <a:gd name="connsiteY4" fmla="*/ 0 h 6851121"/>
              <a:gd name="connsiteX0" fmla="*/ 0 w 12192000"/>
              <a:gd name="connsiteY0" fmla="*/ 0 h 6851121"/>
              <a:gd name="connsiteX1" fmla="*/ 12192000 w 12192000"/>
              <a:gd name="connsiteY1" fmla="*/ 0 h 6851121"/>
              <a:gd name="connsiteX2" fmla="*/ 12192000 w 12192000"/>
              <a:gd name="connsiteY2" fmla="*/ 6851121 h 6851121"/>
              <a:gd name="connsiteX3" fmla="*/ 4859867 w 12192000"/>
              <a:gd name="connsiteY3" fmla="*/ 6840539 h 6851121"/>
              <a:gd name="connsiteX4" fmla="*/ 0 w 12192000"/>
              <a:gd name="connsiteY4" fmla="*/ 0 h 6851121"/>
              <a:gd name="connsiteX0" fmla="*/ 0 w 12192000"/>
              <a:gd name="connsiteY0" fmla="*/ 0 h 6851121"/>
              <a:gd name="connsiteX1" fmla="*/ 12192000 w 12192000"/>
              <a:gd name="connsiteY1" fmla="*/ 0 h 6851121"/>
              <a:gd name="connsiteX2" fmla="*/ 12192000 w 12192000"/>
              <a:gd name="connsiteY2" fmla="*/ 6851121 h 6851121"/>
              <a:gd name="connsiteX3" fmla="*/ 4859867 w 12192000"/>
              <a:gd name="connsiteY3" fmla="*/ 6840539 h 6851121"/>
              <a:gd name="connsiteX4" fmla="*/ 0 w 12192000"/>
              <a:gd name="connsiteY4" fmla="*/ 0 h 6851121"/>
              <a:gd name="connsiteX0" fmla="*/ 0 w 12192000"/>
              <a:gd name="connsiteY0" fmla="*/ 0 h 6851121"/>
              <a:gd name="connsiteX1" fmla="*/ 12192000 w 12192000"/>
              <a:gd name="connsiteY1" fmla="*/ 0 h 6851121"/>
              <a:gd name="connsiteX2" fmla="*/ 12192000 w 12192000"/>
              <a:gd name="connsiteY2" fmla="*/ 6851121 h 6851121"/>
              <a:gd name="connsiteX3" fmla="*/ 4859867 w 12192000"/>
              <a:gd name="connsiteY3" fmla="*/ 6840539 h 6851121"/>
              <a:gd name="connsiteX4" fmla="*/ 0 w 12192000"/>
              <a:gd name="connsiteY4" fmla="*/ 0 h 6851121"/>
              <a:gd name="connsiteX0" fmla="*/ 0 w 12192000"/>
              <a:gd name="connsiteY0" fmla="*/ 0 h 6855779"/>
              <a:gd name="connsiteX1" fmla="*/ 12192000 w 12192000"/>
              <a:gd name="connsiteY1" fmla="*/ 0 h 6855779"/>
              <a:gd name="connsiteX2" fmla="*/ 12192000 w 12192000"/>
              <a:gd name="connsiteY2" fmla="*/ 6851121 h 6855779"/>
              <a:gd name="connsiteX3" fmla="*/ 4859867 w 12192000"/>
              <a:gd name="connsiteY3" fmla="*/ 6855779 h 6855779"/>
              <a:gd name="connsiteX4" fmla="*/ 0 w 12192000"/>
              <a:gd name="connsiteY4" fmla="*/ 0 h 6855779"/>
              <a:gd name="connsiteX0" fmla="*/ 0 w 12199620"/>
              <a:gd name="connsiteY0" fmla="*/ 0 h 6858741"/>
              <a:gd name="connsiteX1" fmla="*/ 12192000 w 12199620"/>
              <a:gd name="connsiteY1" fmla="*/ 0 h 6858741"/>
              <a:gd name="connsiteX2" fmla="*/ 12199620 w 12199620"/>
              <a:gd name="connsiteY2" fmla="*/ 6858741 h 6858741"/>
              <a:gd name="connsiteX3" fmla="*/ 4859867 w 12199620"/>
              <a:gd name="connsiteY3" fmla="*/ 6855779 h 6858741"/>
              <a:gd name="connsiteX4" fmla="*/ 0 w 12199620"/>
              <a:gd name="connsiteY4" fmla="*/ 0 h 6858741"/>
              <a:gd name="connsiteX0" fmla="*/ 0 w 12199620"/>
              <a:gd name="connsiteY0" fmla="*/ 0 h 6858741"/>
              <a:gd name="connsiteX1" fmla="*/ 12192000 w 12199620"/>
              <a:gd name="connsiteY1" fmla="*/ 0 h 6858741"/>
              <a:gd name="connsiteX2" fmla="*/ 12199620 w 12199620"/>
              <a:gd name="connsiteY2" fmla="*/ 6858741 h 6858741"/>
              <a:gd name="connsiteX3" fmla="*/ 5499947 w 12199620"/>
              <a:gd name="connsiteY3" fmla="*/ 6855779 h 6858741"/>
              <a:gd name="connsiteX4" fmla="*/ 0 w 12199620"/>
              <a:gd name="connsiteY4" fmla="*/ 0 h 6858741"/>
              <a:gd name="connsiteX0" fmla="*/ 0 w 12199620"/>
              <a:gd name="connsiteY0" fmla="*/ 0 h 6858741"/>
              <a:gd name="connsiteX1" fmla="*/ 12192000 w 12199620"/>
              <a:gd name="connsiteY1" fmla="*/ 0 h 6858741"/>
              <a:gd name="connsiteX2" fmla="*/ 12199620 w 12199620"/>
              <a:gd name="connsiteY2" fmla="*/ 6858741 h 6858741"/>
              <a:gd name="connsiteX3" fmla="*/ 6671021 w 12199620"/>
              <a:gd name="connsiteY3" fmla="*/ 6855779 h 6858741"/>
              <a:gd name="connsiteX4" fmla="*/ 0 w 12199620"/>
              <a:gd name="connsiteY4" fmla="*/ 0 h 68587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620" h="6858741">
                <a:moveTo>
                  <a:pt x="0" y="0"/>
                </a:moveTo>
                <a:lnTo>
                  <a:pt x="12192000" y="0"/>
                </a:lnTo>
                <a:lnTo>
                  <a:pt x="12199620" y="6858741"/>
                </a:lnTo>
                <a:lnTo>
                  <a:pt x="6671021" y="6855779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880449170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021C81D-CE3C-FCA2-B093-B78D9C2B0E97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gradFill>
            <a:gsLst>
              <a:gs pos="0">
                <a:srgbClr val="0079A8"/>
              </a:gs>
              <a:gs pos="100000">
                <a:srgbClr val="1C4C94"/>
              </a:gs>
            </a:gsLst>
            <a:lin ang="162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5640CB4-099B-03D2-63A8-34CD42933B06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1C4C94">
                  <a:alpha val="70000"/>
                </a:srgbClr>
              </a:gs>
              <a:gs pos="99000">
                <a:srgbClr val="0379A8">
                  <a:alpha val="7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7D6AC0E-EBE1-3BAC-554A-10AD27F988C0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9AACE2-74D2-650A-0ED5-688485CE98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45304" y="6510528"/>
            <a:ext cx="226822" cy="224155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fld id="{809F87CD-0A17-480A-BA0C-CEA734C9A0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17A2460-73C7-8294-FD4D-27399A85FF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008128"/>
            <a:ext cx="9144000" cy="2841743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70000"/>
              </a:lnSpc>
              <a:defRPr sz="5000" i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3064466-541D-CDD8-DACD-AD9FCB6DB75B}"/>
              </a:ext>
            </a:extLst>
          </p:cNvPr>
          <p:cNvSpPr>
            <a:spLocks/>
          </p:cNvSpPr>
          <p:nvPr userDrawn="1"/>
        </p:nvSpPr>
        <p:spPr>
          <a:xfrm>
            <a:off x="11445304" y="6510528"/>
            <a:ext cx="226822" cy="226822"/>
          </a:xfrm>
          <a:prstGeom prst="ellipse">
            <a:avLst/>
          </a:prstGeom>
          <a:noFill/>
          <a:ln w="19050">
            <a:solidFill>
              <a:srgbClr val="F96E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>
              <a:latin typeface="+mj-lt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CA53B96-4307-5C69-4C20-88ED11F4309D}"/>
              </a:ext>
            </a:extLst>
          </p:cNvPr>
          <p:cNvCxnSpPr>
            <a:cxnSpLocks/>
          </p:cNvCxnSpPr>
          <p:nvPr userDrawn="1"/>
        </p:nvCxnSpPr>
        <p:spPr>
          <a:xfrm>
            <a:off x="697304" y="0"/>
            <a:ext cx="0" cy="4849871"/>
          </a:xfrm>
          <a:prstGeom prst="line">
            <a:avLst/>
          </a:prstGeom>
          <a:noFill/>
          <a:ln w="38100" cap="rnd">
            <a:solidFill>
              <a:srgbClr val="F96E46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46180859-B504-9238-84CD-91BB0D78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0136" y="6509489"/>
            <a:ext cx="943356" cy="225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3053141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021C81D-CE3C-FCA2-B093-B78D9C2B0E97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gradFill>
            <a:gsLst>
              <a:gs pos="0">
                <a:srgbClr val="0079A8"/>
              </a:gs>
              <a:gs pos="100000">
                <a:srgbClr val="1C4C94"/>
              </a:gs>
            </a:gsLst>
            <a:lin ang="162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5640CB4-099B-03D2-63A8-34CD42933B06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1C4C94">
                  <a:alpha val="70000"/>
                </a:srgbClr>
              </a:gs>
              <a:gs pos="99000">
                <a:srgbClr val="0379A8">
                  <a:alpha val="7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7D6AC0E-EBE1-3BAC-554A-10AD27F988C0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9AACE2-74D2-650A-0ED5-688485CE98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45304" y="6510528"/>
            <a:ext cx="226822" cy="224155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fld id="{809F87CD-0A17-480A-BA0C-CEA734C9A0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17A2460-73C7-8294-FD4D-27399A85FF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008128"/>
            <a:ext cx="9144000" cy="2841743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70000"/>
              </a:lnSpc>
              <a:defRPr sz="5000" i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3064466-541D-CDD8-DACD-AD9FCB6DB75B}"/>
              </a:ext>
            </a:extLst>
          </p:cNvPr>
          <p:cNvSpPr>
            <a:spLocks/>
          </p:cNvSpPr>
          <p:nvPr userDrawn="1"/>
        </p:nvSpPr>
        <p:spPr>
          <a:xfrm>
            <a:off x="11445304" y="6510528"/>
            <a:ext cx="226822" cy="226822"/>
          </a:xfrm>
          <a:prstGeom prst="ellipse">
            <a:avLst/>
          </a:prstGeom>
          <a:noFill/>
          <a:ln w="19050">
            <a:solidFill>
              <a:srgbClr val="F96E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>
              <a:latin typeface="+mj-lt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CA53B96-4307-5C69-4C20-88ED11F4309D}"/>
              </a:ext>
            </a:extLst>
          </p:cNvPr>
          <p:cNvCxnSpPr>
            <a:cxnSpLocks/>
          </p:cNvCxnSpPr>
          <p:nvPr userDrawn="1"/>
        </p:nvCxnSpPr>
        <p:spPr>
          <a:xfrm>
            <a:off x="697304" y="0"/>
            <a:ext cx="0" cy="4849871"/>
          </a:xfrm>
          <a:prstGeom prst="line">
            <a:avLst/>
          </a:prstGeom>
          <a:noFill/>
          <a:ln w="38100" cap="rnd">
            <a:solidFill>
              <a:srgbClr val="F96E46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46180859-B504-9238-84CD-91BB0D78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0136" y="6509489"/>
            <a:ext cx="943356" cy="225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908306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021C81D-CE3C-FCA2-B093-B78D9C2B0E97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gradFill>
            <a:gsLst>
              <a:gs pos="0">
                <a:srgbClr val="0079A8"/>
              </a:gs>
              <a:gs pos="100000">
                <a:srgbClr val="1C4C94"/>
              </a:gs>
            </a:gsLst>
            <a:lin ang="162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5640CB4-099B-03D2-63A8-34CD42933B06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1C4C94">
                  <a:alpha val="70000"/>
                </a:srgbClr>
              </a:gs>
              <a:gs pos="99000">
                <a:srgbClr val="0379A8">
                  <a:alpha val="7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7D6AC0E-EBE1-3BAC-554A-10AD27F988C0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9AACE2-74D2-650A-0ED5-688485CE98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45304" y="6510528"/>
            <a:ext cx="226822" cy="224155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fld id="{809F87CD-0A17-480A-BA0C-CEA734C9A0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17A2460-73C7-8294-FD4D-27399A85FF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008128"/>
            <a:ext cx="9144000" cy="2841743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70000"/>
              </a:lnSpc>
              <a:defRPr sz="5000" i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3064466-541D-CDD8-DACD-AD9FCB6DB75B}"/>
              </a:ext>
            </a:extLst>
          </p:cNvPr>
          <p:cNvSpPr>
            <a:spLocks/>
          </p:cNvSpPr>
          <p:nvPr userDrawn="1"/>
        </p:nvSpPr>
        <p:spPr>
          <a:xfrm>
            <a:off x="11445304" y="6510528"/>
            <a:ext cx="226822" cy="226822"/>
          </a:xfrm>
          <a:prstGeom prst="ellipse">
            <a:avLst/>
          </a:prstGeom>
          <a:noFill/>
          <a:ln w="19050">
            <a:solidFill>
              <a:srgbClr val="F96E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>
              <a:latin typeface="+mj-lt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CA53B96-4307-5C69-4C20-88ED11F4309D}"/>
              </a:ext>
            </a:extLst>
          </p:cNvPr>
          <p:cNvCxnSpPr>
            <a:cxnSpLocks/>
          </p:cNvCxnSpPr>
          <p:nvPr userDrawn="1"/>
        </p:nvCxnSpPr>
        <p:spPr>
          <a:xfrm>
            <a:off x="697304" y="0"/>
            <a:ext cx="0" cy="4849871"/>
          </a:xfrm>
          <a:prstGeom prst="line">
            <a:avLst/>
          </a:prstGeom>
          <a:noFill/>
          <a:ln w="38100" cap="rnd">
            <a:solidFill>
              <a:srgbClr val="F96E46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46180859-B504-9238-84CD-91BB0D78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0136" y="6509489"/>
            <a:ext cx="943356" cy="225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984325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021C81D-CE3C-FCA2-B093-B78D9C2B0E97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gradFill>
            <a:gsLst>
              <a:gs pos="0">
                <a:srgbClr val="0079A8"/>
              </a:gs>
              <a:gs pos="100000">
                <a:srgbClr val="1C4C94"/>
              </a:gs>
            </a:gsLst>
            <a:lin ang="162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5640CB4-099B-03D2-63A8-34CD42933B06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1C4C94">
                  <a:alpha val="70000"/>
                </a:srgbClr>
              </a:gs>
              <a:gs pos="99000">
                <a:srgbClr val="0379A8">
                  <a:alpha val="7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7D6AC0E-EBE1-3BAC-554A-10AD27F988C0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9AACE2-74D2-650A-0ED5-688485CE98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45304" y="6510528"/>
            <a:ext cx="226822" cy="224155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fld id="{809F87CD-0A17-480A-BA0C-CEA734C9A0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17A2460-73C7-8294-FD4D-27399A85FF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008128"/>
            <a:ext cx="9144000" cy="2841743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70000"/>
              </a:lnSpc>
              <a:defRPr sz="5000" i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3064466-541D-CDD8-DACD-AD9FCB6DB75B}"/>
              </a:ext>
            </a:extLst>
          </p:cNvPr>
          <p:cNvSpPr>
            <a:spLocks/>
          </p:cNvSpPr>
          <p:nvPr userDrawn="1"/>
        </p:nvSpPr>
        <p:spPr>
          <a:xfrm>
            <a:off x="11445304" y="6510528"/>
            <a:ext cx="226822" cy="226822"/>
          </a:xfrm>
          <a:prstGeom prst="ellipse">
            <a:avLst/>
          </a:prstGeom>
          <a:noFill/>
          <a:ln w="19050">
            <a:solidFill>
              <a:srgbClr val="F96E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>
              <a:latin typeface="+mj-lt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CA53B96-4307-5C69-4C20-88ED11F4309D}"/>
              </a:ext>
            </a:extLst>
          </p:cNvPr>
          <p:cNvCxnSpPr>
            <a:cxnSpLocks/>
          </p:cNvCxnSpPr>
          <p:nvPr userDrawn="1"/>
        </p:nvCxnSpPr>
        <p:spPr>
          <a:xfrm>
            <a:off x="697304" y="0"/>
            <a:ext cx="0" cy="4849871"/>
          </a:xfrm>
          <a:prstGeom prst="line">
            <a:avLst/>
          </a:prstGeom>
          <a:noFill/>
          <a:ln w="38100" cap="rnd">
            <a:solidFill>
              <a:srgbClr val="F96E46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46180859-B504-9238-84CD-91BB0D78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0136" y="6509489"/>
            <a:ext cx="943356" cy="225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895043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8343792-E0B7-0403-490F-1CA46DEC27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177A3"/>
              </a:gs>
              <a:gs pos="100000">
                <a:srgbClr val="1C609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66A639F-7E97-2DEE-9FB5-DF6AA13FA9D2}"/>
              </a:ext>
            </a:extLst>
          </p:cNvPr>
          <p:cNvCxnSpPr>
            <a:cxnSpLocks/>
          </p:cNvCxnSpPr>
          <p:nvPr userDrawn="1"/>
        </p:nvCxnSpPr>
        <p:spPr>
          <a:xfrm>
            <a:off x="0" y="4965692"/>
            <a:ext cx="6249500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82DB989-03F8-3CE1-04EA-15CC1909D25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687006" y="3350"/>
            <a:ext cx="8502795" cy="6224845"/>
          </a:xfrm>
          <a:custGeom>
            <a:avLst/>
            <a:gdLst>
              <a:gd name="connsiteX0" fmla="*/ 47748 w 8502795"/>
              <a:gd name="connsiteY0" fmla="*/ 0 h 6224845"/>
              <a:gd name="connsiteX1" fmla="*/ 2626538 w 8502795"/>
              <a:gd name="connsiteY1" fmla="*/ 0 h 6224845"/>
              <a:gd name="connsiteX2" fmla="*/ 8502674 w 8502795"/>
              <a:gd name="connsiteY2" fmla="*/ 0 h 6224845"/>
              <a:gd name="connsiteX3" fmla="*/ 8502795 w 8502795"/>
              <a:gd name="connsiteY3" fmla="*/ 0 h 6224845"/>
              <a:gd name="connsiteX4" fmla="*/ 8502795 w 8502795"/>
              <a:gd name="connsiteY4" fmla="*/ 6224845 h 6224845"/>
              <a:gd name="connsiteX5" fmla="*/ 4030907 w 8502795"/>
              <a:gd name="connsiteY5" fmla="*/ 5681498 h 6224845"/>
              <a:gd name="connsiteX6" fmla="*/ 47748 w 8502795"/>
              <a:gd name="connsiteY6" fmla="*/ 0 h 6224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02795" h="6224845">
                <a:moveTo>
                  <a:pt x="47748" y="0"/>
                </a:moveTo>
                <a:lnTo>
                  <a:pt x="2626538" y="0"/>
                </a:lnTo>
                <a:lnTo>
                  <a:pt x="8502674" y="0"/>
                </a:lnTo>
                <a:lnTo>
                  <a:pt x="8502795" y="0"/>
                </a:lnTo>
                <a:lnTo>
                  <a:pt x="8502795" y="6224845"/>
                </a:lnTo>
                <a:cubicBezTo>
                  <a:pt x="5881364" y="6224845"/>
                  <a:pt x="4030907" y="5681498"/>
                  <a:pt x="4030907" y="5681498"/>
                </a:cubicBezTo>
                <a:cubicBezTo>
                  <a:pt x="-734221" y="4044249"/>
                  <a:pt x="47748" y="0"/>
                  <a:pt x="4774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  <a:endParaRPr lang="en-US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0183B35-E8E5-D8B1-512C-F1D1BCA30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7650" y="604491"/>
            <a:ext cx="1910750" cy="456671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4D050A6-A76F-877C-7627-C3038D143096}"/>
              </a:ext>
            </a:extLst>
          </p:cNvPr>
          <p:cNvCxnSpPr>
            <a:cxnSpLocks/>
          </p:cNvCxnSpPr>
          <p:nvPr userDrawn="1"/>
        </p:nvCxnSpPr>
        <p:spPr>
          <a:xfrm>
            <a:off x="527650" y="4965692"/>
            <a:ext cx="1019210" cy="0"/>
          </a:xfrm>
          <a:prstGeom prst="line">
            <a:avLst/>
          </a:prstGeom>
          <a:ln w="381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reeform: Shape 4">
            <a:extLst>
              <a:ext uri="{FF2B5EF4-FFF2-40B4-BE49-F238E27FC236}">
                <a16:creationId xmlns:a16="http://schemas.microsoft.com/office/drawing/2014/main" id="{E35271DF-AEAF-5D97-DA2B-33C4C3DFCD89}"/>
              </a:ext>
            </a:extLst>
          </p:cNvPr>
          <p:cNvSpPr/>
          <p:nvPr userDrawn="1"/>
        </p:nvSpPr>
        <p:spPr>
          <a:xfrm>
            <a:off x="3689205" y="0"/>
            <a:ext cx="8502795" cy="6224845"/>
          </a:xfrm>
          <a:custGeom>
            <a:avLst/>
            <a:gdLst>
              <a:gd name="connsiteX0" fmla="*/ 47747 w 8502795"/>
              <a:gd name="connsiteY0" fmla="*/ 0 h 6224845"/>
              <a:gd name="connsiteX1" fmla="*/ 2626537 w 8502795"/>
              <a:gd name="connsiteY1" fmla="*/ 0 h 6224845"/>
              <a:gd name="connsiteX2" fmla="*/ 4816419 w 8502795"/>
              <a:gd name="connsiteY2" fmla="*/ 5020612 h 6224845"/>
              <a:gd name="connsiteX3" fmla="*/ 8502673 w 8502795"/>
              <a:gd name="connsiteY3" fmla="*/ 5778634 h 6224845"/>
              <a:gd name="connsiteX4" fmla="*/ 8502673 w 8502795"/>
              <a:gd name="connsiteY4" fmla="*/ 0 h 6224845"/>
              <a:gd name="connsiteX5" fmla="*/ 8502795 w 8502795"/>
              <a:gd name="connsiteY5" fmla="*/ 0 h 6224845"/>
              <a:gd name="connsiteX6" fmla="*/ 8502795 w 8502795"/>
              <a:gd name="connsiteY6" fmla="*/ 6224845 h 6224845"/>
              <a:gd name="connsiteX7" fmla="*/ 4030906 w 8502795"/>
              <a:gd name="connsiteY7" fmla="*/ 5681498 h 6224845"/>
              <a:gd name="connsiteX8" fmla="*/ 47747 w 8502795"/>
              <a:gd name="connsiteY8" fmla="*/ 0 h 6224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02795" h="6224845">
                <a:moveTo>
                  <a:pt x="47747" y="0"/>
                </a:moveTo>
                <a:lnTo>
                  <a:pt x="2626537" y="0"/>
                </a:lnTo>
                <a:cubicBezTo>
                  <a:pt x="2626537" y="0"/>
                  <a:pt x="1971393" y="3691752"/>
                  <a:pt x="4816419" y="5020612"/>
                </a:cubicBezTo>
                <a:cubicBezTo>
                  <a:pt x="4816419" y="5020612"/>
                  <a:pt x="6555079" y="5834837"/>
                  <a:pt x="8502673" y="5778634"/>
                </a:cubicBezTo>
                <a:lnTo>
                  <a:pt x="8502673" y="0"/>
                </a:lnTo>
                <a:lnTo>
                  <a:pt x="8502795" y="0"/>
                </a:lnTo>
                <a:lnTo>
                  <a:pt x="8502795" y="6224845"/>
                </a:lnTo>
                <a:cubicBezTo>
                  <a:pt x="5881363" y="6224845"/>
                  <a:pt x="4030906" y="5681498"/>
                  <a:pt x="4030906" y="5681498"/>
                </a:cubicBezTo>
                <a:cubicBezTo>
                  <a:pt x="-734222" y="4044249"/>
                  <a:pt x="47747" y="0"/>
                  <a:pt x="47747" y="0"/>
                </a:cubicBezTo>
                <a:close/>
              </a:path>
            </a:pathLst>
          </a:custGeom>
          <a:solidFill>
            <a:srgbClr val="0079A8">
              <a:alpha val="56000"/>
            </a:srgbClr>
          </a:solidFill>
          <a:ln w="1220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9662F990-D2CF-3319-EEAD-A8658307D2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916" y="3429000"/>
            <a:ext cx="8570188" cy="1584561"/>
          </a:xfrm>
          <a:prstGeom prst="rect">
            <a:avLst/>
          </a:prstGeom>
        </p:spPr>
        <p:txBody>
          <a:bodyPr lIns="0" anchor="b">
            <a:noAutofit/>
          </a:bodyPr>
          <a:lstStyle>
            <a:lvl1pPr algn="l">
              <a:lnSpc>
                <a:spcPct val="60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2B2B2459-60BA-9383-547A-159C9B9623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16" y="5104011"/>
            <a:ext cx="8548255" cy="1300978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2512264485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021C81D-CE3C-FCA2-B093-B78D9C2B0E97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gradFill>
            <a:gsLst>
              <a:gs pos="0">
                <a:srgbClr val="0079A8"/>
              </a:gs>
              <a:gs pos="100000">
                <a:srgbClr val="1C4C94"/>
              </a:gs>
            </a:gsLst>
            <a:lin ang="162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5640CB4-099B-03D2-63A8-34CD42933B06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1C4C94">
                  <a:alpha val="70000"/>
                </a:srgbClr>
              </a:gs>
              <a:gs pos="99000">
                <a:srgbClr val="0379A8">
                  <a:alpha val="7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7D6AC0E-EBE1-3BAC-554A-10AD27F988C0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9AACE2-74D2-650A-0ED5-688485CE98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45304" y="6510528"/>
            <a:ext cx="226822" cy="224155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fld id="{809F87CD-0A17-480A-BA0C-CEA734C9A0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17A2460-73C7-8294-FD4D-27399A85FF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008128"/>
            <a:ext cx="9144000" cy="2841743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70000"/>
              </a:lnSpc>
              <a:defRPr sz="5000" i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3064466-541D-CDD8-DACD-AD9FCB6DB75B}"/>
              </a:ext>
            </a:extLst>
          </p:cNvPr>
          <p:cNvSpPr>
            <a:spLocks/>
          </p:cNvSpPr>
          <p:nvPr userDrawn="1"/>
        </p:nvSpPr>
        <p:spPr>
          <a:xfrm>
            <a:off x="11445304" y="6510528"/>
            <a:ext cx="226822" cy="226822"/>
          </a:xfrm>
          <a:prstGeom prst="ellipse">
            <a:avLst/>
          </a:prstGeom>
          <a:noFill/>
          <a:ln w="19050">
            <a:solidFill>
              <a:srgbClr val="F96E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>
              <a:latin typeface="+mj-lt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CA53B96-4307-5C69-4C20-88ED11F4309D}"/>
              </a:ext>
            </a:extLst>
          </p:cNvPr>
          <p:cNvCxnSpPr>
            <a:cxnSpLocks/>
          </p:cNvCxnSpPr>
          <p:nvPr userDrawn="1"/>
        </p:nvCxnSpPr>
        <p:spPr>
          <a:xfrm>
            <a:off x="697304" y="0"/>
            <a:ext cx="0" cy="4849871"/>
          </a:xfrm>
          <a:prstGeom prst="line">
            <a:avLst/>
          </a:prstGeom>
          <a:noFill/>
          <a:ln w="38100" cap="rnd">
            <a:solidFill>
              <a:srgbClr val="F96E46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46180859-B504-9238-84CD-91BB0D78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0136" y="6509489"/>
            <a:ext cx="943356" cy="225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9347587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021C81D-CE3C-FCA2-B093-B78D9C2B0E97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gradFill>
            <a:gsLst>
              <a:gs pos="0">
                <a:srgbClr val="0079A8"/>
              </a:gs>
              <a:gs pos="100000">
                <a:srgbClr val="1C4C94"/>
              </a:gs>
            </a:gsLst>
            <a:lin ang="162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5640CB4-099B-03D2-63A8-34CD42933B06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1C4C94">
                  <a:alpha val="70000"/>
                </a:srgbClr>
              </a:gs>
              <a:gs pos="99000">
                <a:srgbClr val="0379A8">
                  <a:alpha val="7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7D6AC0E-EBE1-3BAC-554A-10AD27F988C0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9AACE2-74D2-650A-0ED5-688485CE98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45304" y="6510528"/>
            <a:ext cx="226822" cy="224155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fld id="{809F87CD-0A17-480A-BA0C-CEA734C9A0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17A2460-73C7-8294-FD4D-27399A85FF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008128"/>
            <a:ext cx="9144000" cy="2841743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70000"/>
              </a:lnSpc>
              <a:defRPr sz="5000" i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3064466-541D-CDD8-DACD-AD9FCB6DB75B}"/>
              </a:ext>
            </a:extLst>
          </p:cNvPr>
          <p:cNvSpPr>
            <a:spLocks/>
          </p:cNvSpPr>
          <p:nvPr userDrawn="1"/>
        </p:nvSpPr>
        <p:spPr>
          <a:xfrm>
            <a:off x="11445304" y="6510528"/>
            <a:ext cx="226822" cy="226822"/>
          </a:xfrm>
          <a:prstGeom prst="ellipse">
            <a:avLst/>
          </a:prstGeom>
          <a:noFill/>
          <a:ln w="19050">
            <a:solidFill>
              <a:srgbClr val="F96E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>
              <a:latin typeface="+mj-lt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CA53B96-4307-5C69-4C20-88ED11F4309D}"/>
              </a:ext>
            </a:extLst>
          </p:cNvPr>
          <p:cNvCxnSpPr>
            <a:cxnSpLocks/>
          </p:cNvCxnSpPr>
          <p:nvPr userDrawn="1"/>
        </p:nvCxnSpPr>
        <p:spPr>
          <a:xfrm>
            <a:off x="697304" y="0"/>
            <a:ext cx="0" cy="4849871"/>
          </a:xfrm>
          <a:prstGeom prst="line">
            <a:avLst/>
          </a:prstGeom>
          <a:noFill/>
          <a:ln w="38100" cap="rnd">
            <a:solidFill>
              <a:srgbClr val="F96E46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46180859-B504-9238-84CD-91BB0D78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0136" y="6509489"/>
            <a:ext cx="943356" cy="225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296595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021C81D-CE3C-FCA2-B093-B78D9C2B0E97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gradFill>
            <a:gsLst>
              <a:gs pos="0">
                <a:srgbClr val="0079A8"/>
              </a:gs>
              <a:gs pos="100000">
                <a:srgbClr val="1C4C94"/>
              </a:gs>
            </a:gsLst>
            <a:lin ang="162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5640CB4-099B-03D2-63A8-34CD42933B06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1C4C94">
                  <a:alpha val="70000"/>
                </a:srgbClr>
              </a:gs>
              <a:gs pos="99000">
                <a:srgbClr val="0379A8">
                  <a:alpha val="7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7D6AC0E-EBE1-3BAC-554A-10AD27F988C0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9AACE2-74D2-650A-0ED5-688485CE98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45304" y="6510528"/>
            <a:ext cx="226822" cy="224155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fld id="{809F87CD-0A17-480A-BA0C-CEA734C9A08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17A2460-73C7-8294-FD4D-27399A85FF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008128"/>
            <a:ext cx="9144000" cy="2841743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70000"/>
              </a:lnSpc>
              <a:defRPr sz="5000" i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3064466-541D-CDD8-DACD-AD9FCB6DB75B}"/>
              </a:ext>
            </a:extLst>
          </p:cNvPr>
          <p:cNvSpPr>
            <a:spLocks/>
          </p:cNvSpPr>
          <p:nvPr userDrawn="1"/>
        </p:nvSpPr>
        <p:spPr>
          <a:xfrm>
            <a:off x="11445304" y="6510528"/>
            <a:ext cx="226822" cy="226822"/>
          </a:xfrm>
          <a:prstGeom prst="ellipse">
            <a:avLst/>
          </a:prstGeom>
          <a:noFill/>
          <a:ln w="19050">
            <a:solidFill>
              <a:srgbClr val="F96E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>
              <a:latin typeface="+mj-lt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CA53B96-4307-5C69-4C20-88ED11F4309D}"/>
              </a:ext>
            </a:extLst>
          </p:cNvPr>
          <p:cNvCxnSpPr>
            <a:cxnSpLocks/>
          </p:cNvCxnSpPr>
          <p:nvPr userDrawn="1"/>
        </p:nvCxnSpPr>
        <p:spPr>
          <a:xfrm>
            <a:off x="697304" y="0"/>
            <a:ext cx="0" cy="4849871"/>
          </a:xfrm>
          <a:prstGeom prst="line">
            <a:avLst/>
          </a:prstGeom>
          <a:noFill/>
          <a:ln w="38100" cap="rnd">
            <a:solidFill>
              <a:srgbClr val="F96E46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46180859-B504-9238-84CD-91BB0D78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0136" y="6509489"/>
            <a:ext cx="943356" cy="225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0227489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778936" y="767788"/>
            <a:ext cx="10604499" cy="51101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933" b="0" cap="all" spc="67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791633" y="1278801"/>
            <a:ext cx="10604499" cy="18845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2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91633" y="656089"/>
            <a:ext cx="12192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Afbeelding 5" descr="Afbeelding met Lettertype, logo, Graphics, tekst&#10;&#10;Automatisch gegenereerde beschrijving">
            <a:extLst>
              <a:ext uri="{FF2B5EF4-FFF2-40B4-BE49-F238E27FC236}">
                <a16:creationId xmlns:a16="http://schemas.microsoft.com/office/drawing/2014/main" id="{3DFE5DA1-8F29-00A7-6183-3B925C0A636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936" y="6378594"/>
            <a:ext cx="1192696" cy="284922"/>
          </a:xfrm>
          <a:prstGeom prst="rect">
            <a:avLst/>
          </a:prstGeom>
        </p:spPr>
      </p:pic>
      <p:pic>
        <p:nvPicPr>
          <p:cNvPr id="8" name="Afbeelding 7" descr="Afbeelding met zwart, duisternis&#10;&#10;Automatisch gegenereerde beschrijving">
            <a:extLst>
              <a:ext uri="{FF2B5EF4-FFF2-40B4-BE49-F238E27FC236}">
                <a16:creationId xmlns:a16="http://schemas.microsoft.com/office/drawing/2014/main" id="{80C331E9-657E-7988-B0F4-DEA85CEDFC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3268" y="6297122"/>
            <a:ext cx="294861" cy="500649"/>
          </a:xfrm>
          <a:prstGeom prst="rect">
            <a:avLst/>
          </a:prstGeom>
        </p:spPr>
      </p:pic>
      <p:sp>
        <p:nvSpPr>
          <p:cNvPr id="13" name="Tekstvak 12">
            <a:extLst>
              <a:ext uri="{FF2B5EF4-FFF2-40B4-BE49-F238E27FC236}">
                <a16:creationId xmlns:a16="http://schemas.microsoft.com/office/drawing/2014/main" id="{2C408836-3220-D0E9-7865-3F8CA637FD6F}"/>
              </a:ext>
            </a:extLst>
          </p:cNvPr>
          <p:cNvSpPr txBox="1"/>
          <p:nvPr userDrawn="1"/>
        </p:nvSpPr>
        <p:spPr>
          <a:xfrm>
            <a:off x="10306878" y="6461280"/>
            <a:ext cx="1342949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900" b="0" cap="all" spc="67" dirty="0">
                <a:solidFill>
                  <a:schemeClr val="accent1"/>
                </a:solidFill>
                <a:latin typeface="Lato Black"/>
                <a:cs typeface="Open Sans"/>
              </a:rPr>
              <a:t>GREEN (</a:t>
            </a:r>
            <a:r>
              <a:rPr lang="nl-NL" sz="900" b="0" cap="all" spc="67" dirty="0" err="1">
                <a:solidFill>
                  <a:schemeClr val="accent1"/>
                </a:solidFill>
                <a:latin typeface="Lato Black"/>
                <a:cs typeface="Open Sans"/>
              </a:rPr>
              <a:t>by</a:t>
            </a:r>
            <a:r>
              <a:rPr lang="nl-NL" sz="900" b="0" cap="all" spc="67" dirty="0">
                <a:solidFill>
                  <a:schemeClr val="accent1"/>
                </a:solidFill>
                <a:latin typeface="Lato Black"/>
                <a:cs typeface="Open Sans"/>
              </a:rPr>
              <a:t>)  IT</a:t>
            </a:r>
            <a:endParaRPr lang="nl-NL" dirty="0">
              <a:solidFill>
                <a:schemeClr val="accent1"/>
              </a:solidFill>
            </a:endParaRPr>
          </a:p>
        </p:txBody>
      </p:sp>
      <p:sp>
        <p:nvSpPr>
          <p:cNvPr id="14" name="Tijdelijke aanduiding voor dianummer 3">
            <a:extLst>
              <a:ext uri="{FF2B5EF4-FFF2-40B4-BE49-F238E27FC236}">
                <a16:creationId xmlns:a16="http://schemas.microsoft.com/office/drawing/2014/main" id="{61D2047B-95FF-BDED-BC2E-53ED050BA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2397" y="6401646"/>
            <a:ext cx="652670" cy="2916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>
              <a:defRPr sz="900" b="1">
                <a:solidFill>
                  <a:srgbClr val="F96E46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algn="ctr"/>
            <a:fld id="{809F87CD-0A17-480A-BA0C-CEA734C9A086}" type="slidenum">
              <a:rPr lang="en-US" smtClean="0"/>
              <a:pPr algn="ctr"/>
              <a:t>‹nr.›</a:t>
            </a:fld>
            <a:endParaRPr lang="en-US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3CEDE344-206C-748E-E16F-350A2E2367D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2439" y="6213713"/>
            <a:ext cx="1400876" cy="584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5809385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B84D6EEA-AF06-390F-A781-8E69170321F1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gradFill>
            <a:gsLst>
              <a:gs pos="0">
                <a:srgbClr val="1C4C94">
                  <a:alpha val="70000"/>
                </a:srgbClr>
              </a:gs>
              <a:gs pos="99000">
                <a:srgbClr val="0379A8">
                  <a:alpha val="70000"/>
                </a:srgb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D87A66F-3BD9-2691-9A0F-0CD6D7942858}"/>
              </a:ext>
            </a:extLst>
          </p:cNvPr>
          <p:cNvSpPr/>
          <p:nvPr userDrawn="1"/>
        </p:nvSpPr>
        <p:spPr>
          <a:xfrm>
            <a:off x="0" y="0"/>
            <a:ext cx="12192001" cy="6858000"/>
          </a:xfrm>
          <a:prstGeom prst="rect">
            <a:avLst/>
          </a:prstGeom>
          <a:gradFill>
            <a:gsLst>
              <a:gs pos="0">
                <a:srgbClr val="0079A8"/>
              </a:gs>
              <a:gs pos="100000">
                <a:srgbClr val="1C4C94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13B6A08-633A-7C91-0247-65383917A1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340296845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5963F76-9109-6F65-6235-1DE7A2E012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177A3"/>
              </a:gs>
              <a:gs pos="100000">
                <a:srgbClr val="1C609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0E0D1636-63D9-AE84-54BF-7E9D45D07715}"/>
              </a:ext>
            </a:extLst>
          </p:cNvPr>
          <p:cNvSpPr/>
          <p:nvPr userDrawn="1"/>
        </p:nvSpPr>
        <p:spPr>
          <a:xfrm>
            <a:off x="7106685" y="0"/>
            <a:ext cx="5085315" cy="6858000"/>
          </a:xfrm>
          <a:custGeom>
            <a:avLst/>
            <a:gdLst>
              <a:gd name="connsiteX0" fmla="*/ 5085315 w 5085315"/>
              <a:gd name="connsiteY0" fmla="*/ 6391986 h 6858000"/>
              <a:gd name="connsiteX1" fmla="*/ 5085315 w 5085315"/>
              <a:gd name="connsiteY1" fmla="*/ 6858000 h 6858000"/>
              <a:gd name="connsiteX2" fmla="*/ 4995141 w 5085315"/>
              <a:gd name="connsiteY2" fmla="*/ 6858000 h 6858000"/>
              <a:gd name="connsiteX3" fmla="*/ 5040631 w 5085315"/>
              <a:gd name="connsiteY3" fmla="*/ 6604731 h 6858000"/>
              <a:gd name="connsiteX4" fmla="*/ 4522503 w 5085315"/>
              <a:gd name="connsiteY4" fmla="*/ 2897654 h 6858000"/>
              <a:gd name="connsiteX5" fmla="*/ 5075033 w 5085315"/>
              <a:gd name="connsiteY5" fmla="*/ 3148611 h 6858000"/>
              <a:gd name="connsiteX6" fmla="*/ 5085313 w 5085315"/>
              <a:gd name="connsiteY6" fmla="*/ 3161904 h 6858000"/>
              <a:gd name="connsiteX7" fmla="*/ 5085313 w 5085315"/>
              <a:gd name="connsiteY7" fmla="*/ 6391986 h 6858000"/>
              <a:gd name="connsiteX8" fmla="*/ 5040629 w 5085315"/>
              <a:gd name="connsiteY8" fmla="*/ 6604731 h 6858000"/>
              <a:gd name="connsiteX9" fmla="*/ 4995139 w 5085315"/>
              <a:gd name="connsiteY9" fmla="*/ 6858000 h 6858000"/>
              <a:gd name="connsiteX10" fmla="*/ 3676442 w 5085315"/>
              <a:gd name="connsiteY10" fmla="*/ 6858000 h 6858000"/>
              <a:gd name="connsiteX11" fmla="*/ 3694783 w 5085315"/>
              <a:gd name="connsiteY11" fmla="*/ 6740622 h 6858000"/>
              <a:gd name="connsiteX12" fmla="*/ 3951991 w 5085315"/>
              <a:gd name="connsiteY12" fmla="*/ 5456270 h 6858000"/>
              <a:gd name="connsiteX13" fmla="*/ 4182873 w 5085315"/>
              <a:gd name="connsiteY13" fmla="*/ 3742052 h 6858000"/>
              <a:gd name="connsiteX14" fmla="*/ 4156305 w 5085315"/>
              <a:gd name="connsiteY14" fmla="*/ 3649929 h 6858000"/>
              <a:gd name="connsiteX15" fmla="*/ 4064183 w 5085315"/>
              <a:gd name="connsiteY15" fmla="*/ 3716250 h 6858000"/>
              <a:gd name="connsiteX16" fmla="*/ 3030951 w 5085315"/>
              <a:gd name="connsiteY16" fmla="*/ 5854962 h 6858000"/>
              <a:gd name="connsiteX17" fmla="*/ 2916631 w 5085315"/>
              <a:gd name="connsiteY17" fmla="*/ 6372674 h 6858000"/>
              <a:gd name="connsiteX18" fmla="*/ 2814144 w 5085315"/>
              <a:gd name="connsiteY18" fmla="*/ 6858000 h 6858000"/>
              <a:gd name="connsiteX19" fmla="*/ 2263737 w 5085315"/>
              <a:gd name="connsiteY19" fmla="*/ 6858000 h 6858000"/>
              <a:gd name="connsiteX20" fmla="*/ 2285378 w 5085315"/>
              <a:gd name="connsiteY20" fmla="*/ 6756138 h 6858000"/>
              <a:gd name="connsiteX21" fmla="*/ 2321862 w 5085315"/>
              <a:gd name="connsiteY21" fmla="*/ 6569394 h 6858000"/>
              <a:gd name="connsiteX22" fmla="*/ 2972652 w 5085315"/>
              <a:gd name="connsiteY22" fmla="*/ 4339900 h 6858000"/>
              <a:gd name="connsiteX23" fmla="*/ 4522503 w 5085315"/>
              <a:gd name="connsiteY23" fmla="*/ 2897654 h 6858000"/>
              <a:gd name="connsiteX24" fmla="*/ 1417642 w 5085315"/>
              <a:gd name="connsiteY24" fmla="*/ 0 h 6858000"/>
              <a:gd name="connsiteX25" fmla="*/ 2906424 w 5085315"/>
              <a:gd name="connsiteY25" fmla="*/ 0 h 6858000"/>
              <a:gd name="connsiteX26" fmla="*/ 2822060 w 5085315"/>
              <a:gd name="connsiteY26" fmla="*/ 136046 h 6858000"/>
              <a:gd name="connsiteX27" fmla="*/ 1742174 w 5085315"/>
              <a:gd name="connsiteY27" fmla="*/ 3039465 h 6858000"/>
              <a:gd name="connsiteX28" fmla="*/ 1729178 w 5085315"/>
              <a:gd name="connsiteY28" fmla="*/ 3065843 h 6858000"/>
              <a:gd name="connsiteX29" fmla="*/ 1742367 w 5085315"/>
              <a:gd name="connsiteY29" fmla="*/ 3092217 h 6858000"/>
              <a:gd name="connsiteX30" fmla="*/ 1795116 w 5085315"/>
              <a:gd name="connsiteY30" fmla="*/ 3065650 h 6858000"/>
              <a:gd name="connsiteX31" fmla="*/ 4268983 w 5085315"/>
              <a:gd name="connsiteY31" fmla="*/ 242203 h 6858000"/>
              <a:gd name="connsiteX32" fmla="*/ 4406439 w 5085315"/>
              <a:gd name="connsiteY32" fmla="*/ 0 h 6858000"/>
              <a:gd name="connsiteX33" fmla="*/ 5085313 w 5085315"/>
              <a:gd name="connsiteY33" fmla="*/ 0 h 6858000"/>
              <a:gd name="connsiteX34" fmla="*/ 5085313 w 5085315"/>
              <a:gd name="connsiteY34" fmla="*/ 147240 h 6858000"/>
              <a:gd name="connsiteX35" fmla="*/ 4933297 w 5085315"/>
              <a:gd name="connsiteY35" fmla="*/ 379343 h 6858000"/>
              <a:gd name="connsiteX36" fmla="*/ 4738475 w 5085315"/>
              <a:gd name="connsiteY36" fmla="*/ 656307 h 6858000"/>
              <a:gd name="connsiteX37" fmla="*/ 1626733 w 5085315"/>
              <a:gd name="connsiteY37" fmla="*/ 3817358 h 6858000"/>
              <a:gd name="connsiteX38" fmla="*/ 1521803 w 5085315"/>
              <a:gd name="connsiteY38" fmla="*/ 3975995 h 6858000"/>
              <a:gd name="connsiteX39" fmla="*/ 1318255 w 5085315"/>
              <a:gd name="connsiteY39" fmla="*/ 5966770 h 6858000"/>
              <a:gd name="connsiteX40" fmla="*/ 1387180 w 5085315"/>
              <a:gd name="connsiteY40" fmla="*/ 6814873 h 6858000"/>
              <a:gd name="connsiteX41" fmla="*/ 1397207 w 5085315"/>
              <a:gd name="connsiteY41" fmla="*/ 6858000 h 6858000"/>
              <a:gd name="connsiteX42" fmla="*/ 67384 w 5085315"/>
              <a:gd name="connsiteY42" fmla="*/ 6858000 h 6858000"/>
              <a:gd name="connsiteX43" fmla="*/ 61202 w 5085315"/>
              <a:gd name="connsiteY43" fmla="*/ 6821267 h 6858000"/>
              <a:gd name="connsiteX44" fmla="*/ 56 w 5085315"/>
              <a:gd name="connsiteY44" fmla="*/ 5918991 h 6858000"/>
              <a:gd name="connsiteX45" fmla="*/ 1075340 w 5085315"/>
              <a:gd name="connsiteY45" fmla="*/ 801561 h 6858000"/>
              <a:gd name="connsiteX46" fmla="*/ 1251555 w 5085315"/>
              <a:gd name="connsiteY46" fmla="*/ 35855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5085315" h="6858000">
                <a:moveTo>
                  <a:pt x="5085315" y="6391986"/>
                </a:moveTo>
                <a:lnTo>
                  <a:pt x="5085315" y="6858000"/>
                </a:lnTo>
                <a:lnTo>
                  <a:pt x="4995141" y="6858000"/>
                </a:lnTo>
                <a:lnTo>
                  <a:pt x="5040631" y="6604731"/>
                </a:lnTo>
                <a:close/>
                <a:moveTo>
                  <a:pt x="4522503" y="2897654"/>
                </a:moveTo>
                <a:cubicBezTo>
                  <a:pt x="4754791" y="2896795"/>
                  <a:pt x="4937387" y="2990650"/>
                  <a:pt x="5075033" y="3148611"/>
                </a:cubicBezTo>
                <a:lnTo>
                  <a:pt x="5085313" y="3161904"/>
                </a:lnTo>
                <a:lnTo>
                  <a:pt x="5085313" y="6391986"/>
                </a:lnTo>
                <a:lnTo>
                  <a:pt x="5040629" y="6604731"/>
                </a:lnTo>
                <a:lnTo>
                  <a:pt x="4995139" y="6858000"/>
                </a:lnTo>
                <a:lnTo>
                  <a:pt x="3676442" y="6858000"/>
                </a:lnTo>
                <a:lnTo>
                  <a:pt x="3694783" y="6740622"/>
                </a:lnTo>
                <a:cubicBezTo>
                  <a:pt x="3770565" y="6297183"/>
                  <a:pt x="3867799" y="5865188"/>
                  <a:pt x="3951991" y="5456270"/>
                </a:cubicBezTo>
                <a:cubicBezTo>
                  <a:pt x="4081193" y="4770508"/>
                  <a:pt x="4145987" y="4427625"/>
                  <a:pt x="4182873" y="3742052"/>
                </a:cubicBezTo>
                <a:cubicBezTo>
                  <a:pt x="4182683" y="3689493"/>
                  <a:pt x="4182491" y="3649929"/>
                  <a:pt x="4156305" y="3649929"/>
                </a:cubicBezTo>
                <a:cubicBezTo>
                  <a:pt x="4130125" y="3649929"/>
                  <a:pt x="4103557" y="3676304"/>
                  <a:pt x="4064183" y="3716250"/>
                </a:cubicBezTo>
                <a:cubicBezTo>
                  <a:pt x="3538966" y="4297851"/>
                  <a:pt x="3225519" y="5010752"/>
                  <a:pt x="3030951" y="5854962"/>
                </a:cubicBezTo>
                <a:cubicBezTo>
                  <a:pt x="2988712" y="6026451"/>
                  <a:pt x="2952255" y="6199564"/>
                  <a:pt x="2916631" y="6372674"/>
                </a:cubicBezTo>
                <a:lnTo>
                  <a:pt x="2814144" y="6858000"/>
                </a:lnTo>
                <a:lnTo>
                  <a:pt x="2263737" y="6858000"/>
                </a:lnTo>
                <a:lnTo>
                  <a:pt x="2285378" y="6756138"/>
                </a:lnTo>
                <a:cubicBezTo>
                  <a:pt x="2298405" y="6691588"/>
                  <a:pt x="2310538" y="6628740"/>
                  <a:pt x="2321862" y="6569394"/>
                </a:cubicBezTo>
                <a:cubicBezTo>
                  <a:pt x="2437686" y="5804698"/>
                  <a:pt x="2645821" y="5052801"/>
                  <a:pt x="2972652" y="4339900"/>
                </a:cubicBezTo>
                <a:cubicBezTo>
                  <a:pt x="3260104" y="3653562"/>
                  <a:pt x="3784559" y="2926706"/>
                  <a:pt x="4522503" y="2897654"/>
                </a:cubicBezTo>
                <a:close/>
                <a:moveTo>
                  <a:pt x="1417642" y="0"/>
                </a:moveTo>
                <a:lnTo>
                  <a:pt x="2906424" y="0"/>
                </a:lnTo>
                <a:lnTo>
                  <a:pt x="2822060" y="136046"/>
                </a:lnTo>
                <a:cubicBezTo>
                  <a:pt x="2292139" y="1036744"/>
                  <a:pt x="1992359" y="2060012"/>
                  <a:pt x="1742174" y="3039465"/>
                </a:cubicBezTo>
                <a:lnTo>
                  <a:pt x="1729178" y="3065843"/>
                </a:lnTo>
                <a:lnTo>
                  <a:pt x="1742367" y="3092217"/>
                </a:lnTo>
                <a:cubicBezTo>
                  <a:pt x="1768742" y="3092217"/>
                  <a:pt x="1781737" y="3079028"/>
                  <a:pt x="1795116" y="3065650"/>
                </a:cubicBezTo>
                <a:cubicBezTo>
                  <a:pt x="2748866" y="2162742"/>
                  <a:pt x="3612326" y="1350999"/>
                  <a:pt x="4268983" y="242203"/>
                </a:cubicBezTo>
                <a:lnTo>
                  <a:pt x="4406439" y="0"/>
                </a:lnTo>
                <a:lnTo>
                  <a:pt x="5085313" y="0"/>
                </a:lnTo>
                <a:lnTo>
                  <a:pt x="5085313" y="147240"/>
                </a:lnTo>
                <a:lnTo>
                  <a:pt x="4933297" y="379343"/>
                </a:lnTo>
                <a:cubicBezTo>
                  <a:pt x="4872279" y="468629"/>
                  <a:pt x="4807329" y="560505"/>
                  <a:pt x="4738475" y="656307"/>
                </a:cubicBezTo>
                <a:cubicBezTo>
                  <a:pt x="3754741" y="1951382"/>
                  <a:pt x="2690548" y="2877969"/>
                  <a:pt x="1626733" y="3817358"/>
                </a:cubicBezTo>
                <a:cubicBezTo>
                  <a:pt x="1560795" y="3857304"/>
                  <a:pt x="1534803" y="3910053"/>
                  <a:pt x="1521803" y="3975995"/>
                </a:cubicBezTo>
                <a:cubicBezTo>
                  <a:pt x="1392412" y="4635571"/>
                  <a:pt x="1315770" y="5307765"/>
                  <a:pt x="1318255" y="5966770"/>
                </a:cubicBezTo>
                <a:cubicBezTo>
                  <a:pt x="1326092" y="6315960"/>
                  <a:pt x="1340187" y="6572882"/>
                  <a:pt x="1387180" y="6814873"/>
                </a:cubicBezTo>
                <a:lnTo>
                  <a:pt x="1397207" y="6858000"/>
                </a:lnTo>
                <a:lnTo>
                  <a:pt x="67384" y="6858000"/>
                </a:lnTo>
                <a:lnTo>
                  <a:pt x="61202" y="6821267"/>
                </a:lnTo>
                <a:cubicBezTo>
                  <a:pt x="15016" y="6506340"/>
                  <a:pt x="1013" y="6190809"/>
                  <a:pt x="56" y="5918991"/>
                </a:cubicBezTo>
                <a:cubicBezTo>
                  <a:pt x="-6251" y="4179350"/>
                  <a:pt x="514000" y="2306117"/>
                  <a:pt x="1075340" y="801561"/>
                </a:cubicBezTo>
                <a:cubicBezTo>
                  <a:pt x="1129166" y="654752"/>
                  <a:pt x="1187929" y="506688"/>
                  <a:pt x="1251555" y="358554"/>
                </a:cubicBezTo>
                <a:close/>
              </a:path>
            </a:pathLst>
          </a:custGeom>
          <a:solidFill>
            <a:srgbClr val="58A0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DE5F25C-DB68-C2FE-197B-63ADE36EC90E}"/>
              </a:ext>
            </a:extLst>
          </p:cNvPr>
          <p:cNvCxnSpPr>
            <a:cxnSpLocks/>
          </p:cNvCxnSpPr>
          <p:nvPr userDrawn="1"/>
        </p:nvCxnSpPr>
        <p:spPr>
          <a:xfrm>
            <a:off x="0" y="4085203"/>
            <a:ext cx="7000240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B335E10-390F-7CA7-891C-E957E5860526}"/>
              </a:ext>
            </a:extLst>
          </p:cNvPr>
          <p:cNvCxnSpPr>
            <a:cxnSpLocks/>
          </p:cNvCxnSpPr>
          <p:nvPr userDrawn="1"/>
        </p:nvCxnSpPr>
        <p:spPr>
          <a:xfrm>
            <a:off x="527650" y="4085203"/>
            <a:ext cx="1019210" cy="0"/>
          </a:xfrm>
          <a:prstGeom prst="line">
            <a:avLst/>
          </a:prstGeom>
          <a:ln w="381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B0183B35-E8E5-D8B1-512C-F1D1BCA30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7650" y="604491"/>
            <a:ext cx="1910750" cy="456671"/>
          </a:xfrm>
          <a:prstGeom prst="rect">
            <a:avLst/>
          </a:prstGeom>
        </p:spPr>
      </p:pic>
      <p:sp>
        <p:nvSpPr>
          <p:cNvPr id="18" name="Subtitle 2">
            <a:extLst>
              <a:ext uri="{FF2B5EF4-FFF2-40B4-BE49-F238E27FC236}">
                <a16:creationId xmlns:a16="http://schemas.microsoft.com/office/drawing/2014/main" id="{1887BD83-EA65-BC96-110C-A4982ED040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330" y="4223522"/>
            <a:ext cx="8556842" cy="1300978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PK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0B388D60-E8E6-C03C-7C74-F951BA7D47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7330" y="3075057"/>
            <a:ext cx="8556842" cy="1115890"/>
          </a:xfrm>
          <a:prstGeom prst="rect">
            <a:avLst/>
          </a:prstGeom>
        </p:spPr>
        <p:txBody>
          <a:bodyPr lIns="0" tIns="46800" rIns="0" anchor="t">
            <a:noAutofit/>
          </a:bodyPr>
          <a:lstStyle>
            <a:lvl1pPr algn="l">
              <a:lnSpc>
                <a:spcPct val="100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1173194117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8343792-E0B7-0403-490F-1CA46DEC27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177A3"/>
              </a:gs>
              <a:gs pos="100000">
                <a:srgbClr val="1C609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66A639F-7E97-2DEE-9FB5-DF6AA13FA9D2}"/>
              </a:ext>
            </a:extLst>
          </p:cNvPr>
          <p:cNvCxnSpPr>
            <a:cxnSpLocks/>
          </p:cNvCxnSpPr>
          <p:nvPr userDrawn="1"/>
        </p:nvCxnSpPr>
        <p:spPr>
          <a:xfrm>
            <a:off x="0" y="4965692"/>
            <a:ext cx="6249500" cy="0"/>
          </a:xfrm>
          <a:prstGeom prst="line">
            <a:avLst/>
          </a:prstGeom>
          <a:ln w="19050"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82DB989-03F8-3CE1-04EA-15CC1909D25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687006" y="3350"/>
            <a:ext cx="8502795" cy="6224845"/>
          </a:xfrm>
          <a:custGeom>
            <a:avLst/>
            <a:gdLst>
              <a:gd name="connsiteX0" fmla="*/ 47748 w 8502795"/>
              <a:gd name="connsiteY0" fmla="*/ 0 h 6224845"/>
              <a:gd name="connsiteX1" fmla="*/ 2626538 w 8502795"/>
              <a:gd name="connsiteY1" fmla="*/ 0 h 6224845"/>
              <a:gd name="connsiteX2" fmla="*/ 8502674 w 8502795"/>
              <a:gd name="connsiteY2" fmla="*/ 0 h 6224845"/>
              <a:gd name="connsiteX3" fmla="*/ 8502795 w 8502795"/>
              <a:gd name="connsiteY3" fmla="*/ 0 h 6224845"/>
              <a:gd name="connsiteX4" fmla="*/ 8502795 w 8502795"/>
              <a:gd name="connsiteY4" fmla="*/ 6224845 h 6224845"/>
              <a:gd name="connsiteX5" fmla="*/ 4030907 w 8502795"/>
              <a:gd name="connsiteY5" fmla="*/ 5681498 h 6224845"/>
              <a:gd name="connsiteX6" fmla="*/ 47748 w 8502795"/>
              <a:gd name="connsiteY6" fmla="*/ 0 h 6224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02795" h="6224845">
                <a:moveTo>
                  <a:pt x="47748" y="0"/>
                </a:moveTo>
                <a:lnTo>
                  <a:pt x="2626538" y="0"/>
                </a:lnTo>
                <a:lnTo>
                  <a:pt x="8502674" y="0"/>
                </a:lnTo>
                <a:lnTo>
                  <a:pt x="8502795" y="0"/>
                </a:lnTo>
                <a:lnTo>
                  <a:pt x="8502795" y="6224845"/>
                </a:lnTo>
                <a:cubicBezTo>
                  <a:pt x="5881364" y="6224845"/>
                  <a:pt x="4030907" y="5681498"/>
                  <a:pt x="4030907" y="5681498"/>
                </a:cubicBezTo>
                <a:cubicBezTo>
                  <a:pt x="-734221" y="4044249"/>
                  <a:pt x="47748" y="0"/>
                  <a:pt x="4774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  <a:endParaRPr lang="en-US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B0183B35-E8E5-D8B1-512C-F1D1BCA309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7650" y="604491"/>
            <a:ext cx="1910750" cy="456671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4D050A6-A76F-877C-7627-C3038D143096}"/>
              </a:ext>
            </a:extLst>
          </p:cNvPr>
          <p:cNvCxnSpPr>
            <a:cxnSpLocks/>
          </p:cNvCxnSpPr>
          <p:nvPr userDrawn="1"/>
        </p:nvCxnSpPr>
        <p:spPr>
          <a:xfrm>
            <a:off x="527650" y="4965692"/>
            <a:ext cx="1019210" cy="0"/>
          </a:xfrm>
          <a:prstGeom prst="line">
            <a:avLst/>
          </a:prstGeom>
          <a:ln w="381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reeform: Shape 4">
            <a:extLst>
              <a:ext uri="{FF2B5EF4-FFF2-40B4-BE49-F238E27FC236}">
                <a16:creationId xmlns:a16="http://schemas.microsoft.com/office/drawing/2014/main" id="{E35271DF-AEAF-5D97-DA2B-33C4C3DFCD89}"/>
              </a:ext>
            </a:extLst>
          </p:cNvPr>
          <p:cNvSpPr/>
          <p:nvPr userDrawn="1"/>
        </p:nvSpPr>
        <p:spPr>
          <a:xfrm>
            <a:off x="3689205" y="0"/>
            <a:ext cx="8502795" cy="6224845"/>
          </a:xfrm>
          <a:custGeom>
            <a:avLst/>
            <a:gdLst>
              <a:gd name="connsiteX0" fmla="*/ 47747 w 8502795"/>
              <a:gd name="connsiteY0" fmla="*/ 0 h 6224845"/>
              <a:gd name="connsiteX1" fmla="*/ 2626537 w 8502795"/>
              <a:gd name="connsiteY1" fmla="*/ 0 h 6224845"/>
              <a:gd name="connsiteX2" fmla="*/ 4816419 w 8502795"/>
              <a:gd name="connsiteY2" fmla="*/ 5020612 h 6224845"/>
              <a:gd name="connsiteX3" fmla="*/ 8502673 w 8502795"/>
              <a:gd name="connsiteY3" fmla="*/ 5778634 h 6224845"/>
              <a:gd name="connsiteX4" fmla="*/ 8502673 w 8502795"/>
              <a:gd name="connsiteY4" fmla="*/ 0 h 6224845"/>
              <a:gd name="connsiteX5" fmla="*/ 8502795 w 8502795"/>
              <a:gd name="connsiteY5" fmla="*/ 0 h 6224845"/>
              <a:gd name="connsiteX6" fmla="*/ 8502795 w 8502795"/>
              <a:gd name="connsiteY6" fmla="*/ 6224845 h 6224845"/>
              <a:gd name="connsiteX7" fmla="*/ 4030906 w 8502795"/>
              <a:gd name="connsiteY7" fmla="*/ 5681498 h 6224845"/>
              <a:gd name="connsiteX8" fmla="*/ 47747 w 8502795"/>
              <a:gd name="connsiteY8" fmla="*/ 0 h 6224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02795" h="6224845">
                <a:moveTo>
                  <a:pt x="47747" y="0"/>
                </a:moveTo>
                <a:lnTo>
                  <a:pt x="2626537" y="0"/>
                </a:lnTo>
                <a:cubicBezTo>
                  <a:pt x="2626537" y="0"/>
                  <a:pt x="1971393" y="3691752"/>
                  <a:pt x="4816419" y="5020612"/>
                </a:cubicBezTo>
                <a:cubicBezTo>
                  <a:pt x="4816419" y="5020612"/>
                  <a:pt x="6555079" y="5834837"/>
                  <a:pt x="8502673" y="5778634"/>
                </a:cubicBezTo>
                <a:lnTo>
                  <a:pt x="8502673" y="0"/>
                </a:lnTo>
                <a:lnTo>
                  <a:pt x="8502795" y="0"/>
                </a:lnTo>
                <a:lnTo>
                  <a:pt x="8502795" y="6224845"/>
                </a:lnTo>
                <a:cubicBezTo>
                  <a:pt x="5881363" y="6224845"/>
                  <a:pt x="4030906" y="5681498"/>
                  <a:pt x="4030906" y="5681498"/>
                </a:cubicBezTo>
                <a:cubicBezTo>
                  <a:pt x="-734222" y="4044249"/>
                  <a:pt x="47747" y="0"/>
                  <a:pt x="47747" y="0"/>
                </a:cubicBezTo>
                <a:close/>
              </a:path>
            </a:pathLst>
          </a:custGeom>
          <a:solidFill>
            <a:srgbClr val="0079A8">
              <a:alpha val="56000"/>
            </a:srgbClr>
          </a:solidFill>
          <a:ln w="1220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9662F990-D2CF-3319-EEAD-A8658307D2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916" y="3429000"/>
            <a:ext cx="8570188" cy="1584561"/>
          </a:xfrm>
          <a:prstGeom prst="rect">
            <a:avLst/>
          </a:prstGeom>
        </p:spPr>
        <p:txBody>
          <a:bodyPr lIns="0" anchor="b">
            <a:noAutofit/>
          </a:bodyPr>
          <a:lstStyle>
            <a:lvl1pPr algn="l">
              <a:lnSpc>
                <a:spcPct val="60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PK"/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2B2B2459-60BA-9383-547A-159C9B9623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16" y="5104011"/>
            <a:ext cx="8548255" cy="1300978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1096592024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slideLayout" Target="../slideLayouts/slideLayout74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F71E95B-3455-AA06-D481-B7F16AD361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6"/>
            </p:custDataLst>
            <p:extLst>
              <p:ext uri="{D42A27DB-BD31-4B8C-83A1-F6EECF244321}">
                <p14:modId xmlns:p14="http://schemas.microsoft.com/office/powerpoint/2010/main" val="2109384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7" imgW="503" imgH="503" progId="TCLayout.ActiveDocument.1">
                  <p:embed/>
                </p:oleObj>
              </mc:Choice>
              <mc:Fallback>
                <p:oleObj name="think-cell Slide" r:id="rId77" imgW="503" imgH="50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71E95B-3455-AA06-D481-B7F16AD36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CEE40370-9515-EBDD-65AB-5E039357BFA9}"/>
              </a:ext>
            </a:extLst>
          </p:cNvPr>
          <p:cNvSpPr/>
          <p:nvPr userDrawn="1"/>
        </p:nvSpPr>
        <p:spPr>
          <a:xfrm>
            <a:off x="0" y="1021081"/>
            <a:ext cx="12192000" cy="58369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en-US" sz="450"/>
          </a:p>
        </p:txBody>
      </p:sp>
    </p:spTree>
    <p:extLst>
      <p:ext uri="{BB962C8B-B14F-4D97-AF65-F5344CB8AC3E}">
        <p14:creationId xmlns:p14="http://schemas.microsoft.com/office/powerpoint/2010/main" val="3545829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  <p:sldLayoutId id="2147483728" r:id="rId68"/>
    <p:sldLayoutId id="2147483729" r:id="rId69"/>
    <p:sldLayoutId id="2147483730" r:id="rId70"/>
    <p:sldLayoutId id="2147483731" r:id="rId71"/>
    <p:sldLayoutId id="2147483732" r:id="rId72"/>
    <p:sldLayoutId id="2147483733" r:id="rId73"/>
    <p:sldLayoutId id="2147483734" r:id="rId74"/>
  </p:sldLayoutIdLst>
  <p:transition spd="slow"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500" b="1" kern="1200">
          <a:solidFill>
            <a:srgbClr val="0078A3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533400" indent="-2667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757238" indent="-22383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023938" indent="-2222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1292225" indent="-2682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.x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44.png"/><Relationship Id="rId3" Type="http://schemas.openxmlformats.org/officeDocument/2006/relationships/image" Target="../media/image40.jpeg"/><Relationship Id="rId7" Type="http://schemas.openxmlformats.org/officeDocument/2006/relationships/image" Target="../media/image15.emf"/><Relationship Id="rId12" Type="http://schemas.openxmlformats.org/officeDocument/2006/relationships/image" Target="../media/image4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4.xml"/><Relationship Id="rId6" Type="http://schemas.openxmlformats.org/officeDocument/2006/relationships/image" Target="../media/image14.emf"/><Relationship Id="rId11" Type="http://schemas.openxmlformats.org/officeDocument/2006/relationships/image" Target="../media/image42.svg"/><Relationship Id="rId5" Type="http://schemas.openxmlformats.org/officeDocument/2006/relationships/image" Target="../media/image12.emf"/><Relationship Id="rId10" Type="http://schemas.openxmlformats.org/officeDocument/2006/relationships/image" Target="../media/image41.png"/><Relationship Id="rId4" Type="http://schemas.openxmlformats.org/officeDocument/2006/relationships/image" Target="../media/image13.emf"/><Relationship Id="rId9" Type="http://schemas.openxmlformats.org/officeDocument/2006/relationships/image" Target="../media/image18.svg"/><Relationship Id="rId14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0.png"/><Relationship Id="rId3" Type="http://schemas.openxmlformats.org/officeDocument/2006/relationships/image" Target="../media/image11.jpeg"/><Relationship Id="rId7" Type="http://schemas.openxmlformats.org/officeDocument/2006/relationships/image" Target="../media/image15.emf"/><Relationship Id="rId12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3.xml"/><Relationship Id="rId6" Type="http://schemas.openxmlformats.org/officeDocument/2006/relationships/image" Target="../media/image14.emf"/><Relationship Id="rId11" Type="http://schemas.openxmlformats.org/officeDocument/2006/relationships/image" Target="../media/image18.svg"/><Relationship Id="rId5" Type="http://schemas.openxmlformats.org/officeDocument/2006/relationships/image" Target="../media/image13.emf"/><Relationship Id="rId10" Type="http://schemas.openxmlformats.org/officeDocument/2006/relationships/image" Target="../media/image2.png"/><Relationship Id="rId4" Type="http://schemas.openxmlformats.org/officeDocument/2006/relationships/image" Target="../media/image12.emf"/><Relationship Id="rId9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sv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3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24.svg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23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22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12" Type="http://schemas.openxmlformats.org/officeDocument/2006/relationships/image" Target="../media/image36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3.xml"/><Relationship Id="rId6" Type="http://schemas.openxmlformats.org/officeDocument/2006/relationships/image" Target="../media/image30.sv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0" Type="http://schemas.openxmlformats.org/officeDocument/2006/relationships/image" Target="../media/image34.svg"/><Relationship Id="rId4" Type="http://schemas.openxmlformats.org/officeDocument/2006/relationships/image" Target="../media/image28.svg"/><Relationship Id="rId9" Type="http://schemas.openxmlformats.org/officeDocument/2006/relationships/image" Target="../media/image3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3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g"/><Relationship Id="rId1" Type="http://schemas.openxmlformats.org/officeDocument/2006/relationships/slideLayout" Target="../slideLayouts/slideLayout7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85B204B-2EFB-CD9C-2958-26A0C59C8B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03" imgH="503" progId="TCLayout.ActiveDocument.1">
                  <p:embed/>
                </p:oleObj>
              </mc:Choice>
              <mc:Fallback>
                <p:oleObj name="think-cell Slide" r:id="rId4" imgW="503" imgH="5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5B204B-2EFB-CD9C-2958-26A0C59C8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1">
            <a:extLst>
              <a:ext uri="{FF2B5EF4-FFF2-40B4-BE49-F238E27FC236}">
                <a16:creationId xmlns:a16="http://schemas.microsoft.com/office/drawing/2014/main" id="{F6310A69-789E-A0EB-F181-F9977CCE101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lIns="0" tIns="46800" rIns="0" bIns="45720" anchor="t">
            <a:noAutofit/>
          </a:bodyPr>
          <a:lstStyle/>
          <a:p>
            <a:r>
              <a:rPr lang="en-US"/>
              <a:t>Anne van Esch</a:t>
            </a:r>
          </a:p>
        </p:txBody>
      </p:sp>
      <p:pic>
        <p:nvPicPr>
          <p:cNvPr id="42" name="Picture Placeholder 41">
            <a:extLst>
              <a:ext uri="{FF2B5EF4-FFF2-40B4-BE49-F238E27FC236}">
                <a16:creationId xmlns:a16="http://schemas.microsoft.com/office/drawing/2014/main" id="{03347DFD-9278-CA03-B1DE-885AFA9765E0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06684" y="0"/>
            <a:ext cx="5085316" cy="6858000"/>
          </a:xfrm>
        </p:spPr>
      </p:pic>
      <p:cxnSp>
        <p:nvCxnSpPr>
          <p:cNvPr id="6" name="Straight Connector 14">
            <a:extLst>
              <a:ext uri="{FF2B5EF4-FFF2-40B4-BE49-F238E27FC236}">
                <a16:creationId xmlns:a16="http://schemas.microsoft.com/office/drawing/2014/main" id="{2DDDF45D-DF28-FD0A-8ECD-C32D4825188B}"/>
              </a:ext>
            </a:extLst>
          </p:cNvPr>
          <p:cNvCxnSpPr>
            <a:cxnSpLocks/>
          </p:cNvCxnSpPr>
          <p:nvPr/>
        </p:nvCxnSpPr>
        <p:spPr>
          <a:xfrm>
            <a:off x="527650" y="4220935"/>
            <a:ext cx="1019210" cy="0"/>
          </a:xfrm>
          <a:prstGeom prst="line">
            <a:avLst/>
          </a:prstGeom>
          <a:ln w="381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31DC062E-50DC-FC6E-01F3-6E87AAFEF3B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05429" y="671384"/>
            <a:ext cx="1910750" cy="456671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01354F01-9E9E-1254-BE77-5BCE4B32B6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5429" y="1963717"/>
            <a:ext cx="7172748" cy="2305087"/>
          </a:xfrm>
        </p:spPr>
        <p:txBody>
          <a:bodyPr vert="horz" lIns="0" tIns="46800" rIns="0" bIns="45720" anchor="b">
            <a:noAutofit/>
          </a:bodyPr>
          <a:lstStyle/>
          <a:p>
            <a:pPr>
              <a:lnSpc>
                <a:spcPct val="100000"/>
              </a:lnSpc>
            </a:pPr>
            <a:r>
              <a:rPr lang="en-US" sz="6000" dirty="0"/>
              <a:t>DE BUSINESSCASE </a:t>
            </a:r>
            <a:br>
              <a:rPr lang="en-US" sz="6000" dirty="0"/>
            </a:br>
            <a:r>
              <a:rPr lang="en-US" sz="6000" dirty="0"/>
              <a:t>VAN GREEN (BY) IT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4D0E22B-5436-626D-9B1A-2EA7FBE029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452" y="5104466"/>
            <a:ext cx="3764248" cy="1569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7952494"/>
      </p:ext>
    </p:extLst>
  </p:cSld>
  <p:clrMapOvr>
    <a:masterClrMapping/>
  </p:clrMapOvr>
  <p:transition spd="slow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Placeholder 17" descr="A picture containing light, dark&#10;&#10;Description automatically generated">
            <a:extLst>
              <a:ext uri="{FF2B5EF4-FFF2-40B4-BE49-F238E27FC236}">
                <a16:creationId xmlns:a16="http://schemas.microsoft.com/office/drawing/2014/main" id="{F64C1945-4B49-1797-223C-BF4118B76D6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6503"/>
            <a:ext cx="12192000" cy="6858000"/>
          </a:xfr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CFFAD8E-E643-54A0-7556-216750097111}"/>
              </a:ext>
            </a:extLst>
          </p:cNvPr>
          <p:cNvSpPr/>
          <p:nvPr/>
        </p:nvSpPr>
        <p:spPr>
          <a:xfrm>
            <a:off x="4762" y="27000"/>
            <a:ext cx="12187238" cy="6858000"/>
          </a:xfrm>
          <a:prstGeom prst="rect">
            <a:avLst/>
          </a:prstGeom>
          <a:gradFill>
            <a:gsLst>
              <a:gs pos="0">
                <a:srgbClr val="1C4C94">
                  <a:alpha val="85000"/>
                </a:srgbClr>
              </a:gs>
              <a:gs pos="99000">
                <a:srgbClr val="0379A8">
                  <a:alpha val="75000"/>
                </a:srgb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1FA5C15-05F2-EEE5-84E8-885CEF61E61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696" y="3985620"/>
            <a:ext cx="2194729" cy="78758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F7E6A39-FBC2-668A-5436-3C04552428B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2967" y="4025576"/>
            <a:ext cx="1434127" cy="70767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39CDAA0-3E33-A66E-B211-89AA663783F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3602" y="4025263"/>
            <a:ext cx="2405763" cy="70829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CF4E18B-5C4D-941E-F6B1-ABBBB0B0C25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89871" y="4063836"/>
            <a:ext cx="2220061" cy="631150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7183C3A-BA3F-6C70-AB04-71FDAA431514}"/>
              </a:ext>
            </a:extLst>
          </p:cNvPr>
          <p:cNvCxnSpPr>
            <a:cxnSpLocks/>
          </p:cNvCxnSpPr>
          <p:nvPr/>
        </p:nvCxnSpPr>
        <p:spPr>
          <a:xfrm>
            <a:off x="2340141" y="3664552"/>
            <a:ext cx="7227497" cy="0"/>
          </a:xfrm>
          <a:prstGeom prst="line">
            <a:avLst/>
          </a:prstGeom>
          <a:noFill/>
          <a:ln w="38100" cap="rnd">
            <a:solidFill>
              <a:srgbClr val="F96E46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FCAB3F48-DA29-B5E8-E4FC-C22B4313044E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939020" y="617124"/>
            <a:ext cx="5852575" cy="1396935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778EB0D8-A80E-7B8F-B64B-066522B88185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209365" y="5294981"/>
            <a:ext cx="1969847" cy="269558"/>
          </a:xfrm>
          <a:prstGeom prst="rect">
            <a:avLst/>
          </a:prstGeom>
        </p:spPr>
      </p:pic>
      <p:pic>
        <p:nvPicPr>
          <p:cNvPr id="3" name="Picture 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4A72F2F3-ADBC-E67F-8357-F2F3534CC155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65308" y="5215138"/>
            <a:ext cx="1957892" cy="414021"/>
          </a:xfrm>
          <a:prstGeom prst="rect">
            <a:avLst/>
          </a:prstGeom>
        </p:spPr>
      </p:pic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8ABD8DF1-D89A-6C5D-07CA-EB7B9E70C9E6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45425" y="4928454"/>
            <a:ext cx="876099" cy="876099"/>
          </a:xfrm>
          <a:prstGeom prst="rect">
            <a:avLst/>
          </a:prstGeom>
        </p:spPr>
      </p:pic>
      <p:sp>
        <p:nvSpPr>
          <p:cNvPr id="2" name="Tekstvak 1">
            <a:extLst>
              <a:ext uri="{FF2B5EF4-FFF2-40B4-BE49-F238E27FC236}">
                <a16:creationId xmlns:a16="http://schemas.microsoft.com/office/drawing/2014/main" id="{15E05DAA-BC16-9636-1FBE-3B22216091F3}"/>
              </a:ext>
            </a:extLst>
          </p:cNvPr>
          <p:cNvSpPr txBox="1"/>
          <p:nvPr/>
        </p:nvSpPr>
        <p:spPr>
          <a:xfrm>
            <a:off x="1536593" y="2279557"/>
            <a:ext cx="942820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“We are a group of entrepreneurial consulting firms with best-in-class experience in organizational, sustainable and digital transformation. As a group of multi-disciplinary and talented boutique firms, we combine forces to strive for one ambition: to build the leading transformation consulting group in Europe.”</a:t>
            </a: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 pitchFamily="2" charset="0"/>
              <a:ea typeface="+mn-ea"/>
              <a:cs typeface="+mn-cs"/>
            </a:endParaRPr>
          </a:p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itchFamily="2" charset="0"/>
                <a:ea typeface="+mn-ea"/>
                <a:cs typeface="+mn-cs"/>
              </a:rPr>
              <a:t>We are Highberg. We are transformation consultants!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 pitchFamily="2" charset="0"/>
              <a:ea typeface="+mn-ea"/>
              <a:cs typeface="+mn-cs"/>
            </a:endParaRP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pic>
        <p:nvPicPr>
          <p:cNvPr id="4" name="Picture 2" descr="A white letter in a circle&#10;&#10;Description automatically generated">
            <a:extLst>
              <a:ext uri="{FF2B5EF4-FFF2-40B4-BE49-F238E27FC236}">
                <a16:creationId xmlns:a16="http://schemas.microsoft.com/office/drawing/2014/main" id="{E946CCF6-E5DF-236E-C224-A9C127B3E81B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72589" y="5790568"/>
            <a:ext cx="434764" cy="724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128503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A picture containing nature, spring, night sky&#10;&#10;Description automatically generated">
            <a:extLst>
              <a:ext uri="{FF2B5EF4-FFF2-40B4-BE49-F238E27FC236}">
                <a16:creationId xmlns:a16="http://schemas.microsoft.com/office/drawing/2014/main" id="{3C14CCAF-9420-1C66-7CF0-448C98ABEF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06690" y="0"/>
            <a:ext cx="589745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778937" y="767788"/>
            <a:ext cx="5621416" cy="511013"/>
          </a:xfrm>
        </p:spPr>
        <p:txBody>
          <a:bodyPr lIns="0" tIns="0" rIns="0" bIns="0" anchor="t"/>
          <a:lstStyle/>
          <a:p>
            <a:r>
              <a:rPr lang="en-US" dirty="0" err="1">
                <a:solidFill>
                  <a:schemeClr val="accent2"/>
                </a:solidFill>
              </a:rPr>
              <a:t>Kennismaken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FBB91E4-1DB2-4FFA-006E-DFB53571F8B7}"/>
              </a:ext>
            </a:extLst>
          </p:cNvPr>
          <p:cNvSpPr txBox="1"/>
          <p:nvPr/>
        </p:nvSpPr>
        <p:spPr>
          <a:xfrm>
            <a:off x="8170295" y="5803614"/>
            <a:ext cx="184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7E649E66-EFA0-E5DE-03FB-DFFD5FC50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9F87CD-0A17-480A-BA0C-CEA734C9A086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F96E46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pPr marL="0" marR="0" lvl="0" indent="0" algn="l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F96E46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790793E3-A3EE-140A-468D-8FFB7E65EC0C}"/>
              </a:ext>
            </a:extLst>
          </p:cNvPr>
          <p:cNvSpPr txBox="1"/>
          <p:nvPr/>
        </p:nvSpPr>
        <p:spPr>
          <a:xfrm>
            <a:off x="677938" y="1578424"/>
            <a:ext cx="3502220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96E46"/>
                </a:solidFill>
                <a:effectLst/>
                <a:uLnTx/>
                <a:uFillTx/>
                <a:latin typeface="Corbel"/>
                <a:ea typeface="+mn-lt"/>
                <a:cs typeface="+mn-lt"/>
              </a:rPr>
              <a:t>ANNE VAN ESCH</a:t>
            </a: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Partner </a:t>
            </a:r>
            <a:r>
              <a:rPr lang="en-US" sz="1600" dirty="0" err="1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bij</a:t>
            </a:r>
            <a:r>
              <a:rPr lang="en-US" sz="1600" dirty="0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 </a:t>
            </a:r>
            <a:r>
              <a:rPr lang="en-US" sz="1600" dirty="0" err="1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Highberg</a:t>
            </a:r>
            <a:r>
              <a:rPr lang="en-US" sz="1600" dirty="0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 (</a:t>
            </a:r>
            <a:r>
              <a:rPr lang="en-US" sz="1600" dirty="0" err="1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voormalig</a:t>
            </a:r>
            <a:r>
              <a:rPr lang="en-US" sz="1600" dirty="0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 VKA)</a:t>
            </a:r>
          </a:p>
          <a:p>
            <a:pPr marL="285750" marR="0" lvl="0" indent="-2857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Governance van IT</a:t>
            </a:r>
          </a:p>
          <a:p>
            <a:pPr marL="285750" marR="0" lvl="0" indent="-2857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 err="1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Datagovernance</a:t>
            </a:r>
            <a:endParaRPr lang="en-US" sz="1600" dirty="0">
              <a:solidFill>
                <a:srgbClr val="616161"/>
              </a:solidFill>
              <a:highlight>
                <a:srgbClr val="FFFFFF"/>
              </a:highlight>
              <a:latin typeface="Söhne"/>
            </a:endParaRPr>
          </a:p>
          <a:p>
            <a:pPr marL="285750" marR="0" lvl="0" indent="-2857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Di</a:t>
            </a:r>
            <a:r>
              <a:rPr lang="en-US" sz="1600" dirty="0" err="1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gital</a:t>
            </a:r>
            <a:r>
              <a:rPr lang="en-US" sz="1600" dirty="0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 Sustainability</a:t>
            </a:r>
          </a:p>
          <a:p>
            <a:pPr marL="285750" marR="0" lvl="0" indent="-2857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 err="1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Deelnemer</a:t>
            </a:r>
            <a:r>
              <a:rPr lang="en-US" sz="1600" dirty="0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 NCDD</a:t>
            </a:r>
          </a:p>
          <a:p>
            <a:pPr marR="0" lvl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600" dirty="0">
              <a:solidFill>
                <a:srgbClr val="616161"/>
              </a:solidFill>
              <a:highlight>
                <a:srgbClr val="FFFFFF"/>
              </a:highlight>
              <a:latin typeface="Söhne"/>
            </a:endParaRPr>
          </a:p>
          <a:p>
            <a:pPr marL="285750" marR="0" lvl="0" indent="-2857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616161"/>
              </a:solidFill>
              <a:effectLst/>
              <a:highlight>
                <a:srgbClr val="FFFFFF"/>
              </a:highlight>
              <a:uLnTx/>
              <a:uFillTx/>
              <a:latin typeface="Söhne"/>
              <a:ea typeface="+mn-ea"/>
              <a:cs typeface="+mn-cs"/>
            </a:endParaRPr>
          </a:p>
        </p:txBody>
      </p:sp>
      <p:pic>
        <p:nvPicPr>
          <p:cNvPr id="5" name="Picture 11">
            <a:extLst>
              <a:ext uri="{FF2B5EF4-FFF2-40B4-BE49-F238E27FC236}">
                <a16:creationId xmlns:a16="http://schemas.microsoft.com/office/drawing/2014/main" id="{8C684F33-73ED-BAA2-A5E8-0666B3AFB37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799" y="664437"/>
            <a:ext cx="1164519" cy="574632"/>
          </a:xfrm>
          <a:prstGeom prst="rect">
            <a:avLst/>
          </a:prstGeom>
        </p:spPr>
      </p:pic>
      <p:pic>
        <p:nvPicPr>
          <p:cNvPr id="7" name="Picture 10">
            <a:extLst>
              <a:ext uri="{FF2B5EF4-FFF2-40B4-BE49-F238E27FC236}">
                <a16:creationId xmlns:a16="http://schemas.microsoft.com/office/drawing/2014/main" id="{AFEE69E7-8672-E6EA-0EA9-CC931D1BBC0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49615" y="1674636"/>
            <a:ext cx="1218246" cy="437170"/>
          </a:xfrm>
          <a:prstGeom prst="rect">
            <a:avLst/>
          </a:prstGeom>
        </p:spPr>
      </p:pic>
      <p:pic>
        <p:nvPicPr>
          <p:cNvPr id="8" name="Picture 12">
            <a:extLst>
              <a:ext uri="{FF2B5EF4-FFF2-40B4-BE49-F238E27FC236}">
                <a16:creationId xmlns:a16="http://schemas.microsoft.com/office/drawing/2014/main" id="{6DA0E873-5030-DEFE-CD80-E992EC7312D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2038" y="1539344"/>
            <a:ext cx="1648073" cy="485220"/>
          </a:xfrm>
          <a:prstGeom prst="rect">
            <a:avLst/>
          </a:prstGeom>
        </p:spPr>
      </p:pic>
      <p:pic>
        <p:nvPicPr>
          <p:cNvPr id="9" name="Picture 13">
            <a:extLst>
              <a:ext uri="{FF2B5EF4-FFF2-40B4-BE49-F238E27FC236}">
                <a16:creationId xmlns:a16="http://schemas.microsoft.com/office/drawing/2014/main" id="{438BB3B6-634D-906D-105E-2663AB6F556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8353" y="1374240"/>
            <a:ext cx="1434127" cy="407714"/>
          </a:xfrm>
          <a:prstGeom prst="rect">
            <a:avLst/>
          </a:prstGeom>
        </p:spPr>
      </p:pic>
      <p:pic>
        <p:nvPicPr>
          <p:cNvPr id="10" name="Picture 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AE48012-53D7-7DB3-4588-C47A013BA1C8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99746" y="2440338"/>
            <a:ext cx="1218246" cy="257614"/>
          </a:xfrm>
          <a:prstGeom prst="rect">
            <a:avLst/>
          </a:prstGeom>
        </p:spPr>
      </p:pic>
      <p:pic>
        <p:nvPicPr>
          <p:cNvPr id="11" name="Picture 4" descr="Logo&#10;&#10;Description automatically generated">
            <a:extLst>
              <a:ext uri="{FF2B5EF4-FFF2-40B4-BE49-F238E27FC236}">
                <a16:creationId xmlns:a16="http://schemas.microsoft.com/office/drawing/2014/main" id="{05EC9C27-B9AA-6E3D-22C1-6138BF3A5CF9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67861" y="2271550"/>
            <a:ext cx="595191" cy="595191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481BECA5-07F7-EF44-BD26-335BF33EB3AA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580371" y="611458"/>
            <a:ext cx="2493602" cy="595191"/>
          </a:xfrm>
          <a:prstGeom prst="rect">
            <a:avLst/>
          </a:prstGeom>
        </p:spPr>
      </p:pic>
      <p:pic>
        <p:nvPicPr>
          <p:cNvPr id="13" name="Picture 2" descr="A white letter in a circle&#10;&#10;Description automatically generated">
            <a:extLst>
              <a:ext uri="{FF2B5EF4-FFF2-40B4-BE49-F238E27FC236}">
                <a16:creationId xmlns:a16="http://schemas.microsoft.com/office/drawing/2014/main" id="{5827B31E-D66A-9FE5-3657-1124F9AE397F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49615" y="471244"/>
            <a:ext cx="565236" cy="941862"/>
          </a:xfrm>
          <a:prstGeom prst="rect">
            <a:avLst/>
          </a:prstGeom>
        </p:spPr>
      </p:pic>
      <p:pic>
        <p:nvPicPr>
          <p:cNvPr id="15" name="Afbeelding 14" descr="Afbeelding met Menselijk gezicht, glimlach, kleding, persoon&#10;&#10;Automatisch gegenereerde beschrijving">
            <a:extLst>
              <a:ext uri="{FF2B5EF4-FFF2-40B4-BE49-F238E27FC236}">
                <a16:creationId xmlns:a16="http://schemas.microsoft.com/office/drawing/2014/main" id="{F7040F15-0100-281C-4353-FBA0AAE2BC4C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6165" y="3864918"/>
            <a:ext cx="2606288" cy="2264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413759"/>
      </p:ext>
    </p:extLst>
  </p:cSld>
  <p:clrMapOvr>
    <a:masterClrMapping/>
  </p:clrMapOvr>
  <p:transition spd="slow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6CD96628-C4AC-2B26-4064-2C4F57DD5A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l-NL" dirty="0"/>
              <a:t>Duurzaamheid</a:t>
            </a:r>
            <a:endParaRPr lang="en-GB" dirty="0"/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D8CEAE64-CE2D-348F-38E5-07FB791D78E8}"/>
              </a:ext>
            </a:extLst>
          </p:cNvPr>
          <p:cNvSpPr txBox="1"/>
          <p:nvPr/>
        </p:nvSpPr>
        <p:spPr>
          <a:xfrm>
            <a:off x="5829881" y="2699151"/>
            <a:ext cx="5791200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nl-NL" sz="1600" b="1" dirty="0">
                <a:solidFill>
                  <a:srgbClr val="1D5F93"/>
                </a:solidFill>
                <a:highlight>
                  <a:srgbClr val="FFFFFF"/>
                </a:highlight>
                <a:latin typeface="Söhne"/>
              </a:rPr>
              <a:t>VISIE</a:t>
            </a:r>
            <a:r>
              <a:rPr lang="nl-NL" sz="1600" dirty="0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: </a:t>
            </a: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Negatieve impact van bedrijfsactiviteiten verkleinen of een positieve bijdrage leveren aan verduurzaming?</a:t>
            </a:r>
          </a:p>
          <a:p>
            <a:pPr marR="0" lvl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nl-NL" sz="1600" dirty="0">
              <a:solidFill>
                <a:srgbClr val="616161"/>
              </a:solidFill>
              <a:highlight>
                <a:srgbClr val="FFFFFF"/>
              </a:highlight>
              <a:latin typeface="Söhne"/>
            </a:endParaRPr>
          </a:p>
          <a:p>
            <a:pPr marR="0" lvl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nl-NL" sz="1600" b="1" dirty="0">
                <a:solidFill>
                  <a:srgbClr val="1D5F93"/>
                </a:solidFill>
                <a:highlight>
                  <a:srgbClr val="FFFFFF"/>
                </a:highlight>
                <a:latin typeface="Söhne"/>
              </a:rPr>
              <a:t>SCOPE</a:t>
            </a:r>
            <a:r>
              <a:rPr lang="nl-NL" sz="1600" dirty="0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: </a:t>
            </a: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Focus op de eigen organisatie, het systeem of de wereld?</a:t>
            </a:r>
          </a:p>
          <a:p>
            <a:pPr defTabSz="228600"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		</a:t>
            </a:r>
          </a:p>
          <a:p>
            <a:pPr defTabSz="228600">
              <a:defRPr/>
            </a:pPr>
            <a:r>
              <a:rPr lang="nl-NL" sz="1600" b="1" dirty="0">
                <a:solidFill>
                  <a:srgbClr val="1D5F93"/>
                </a:solidFill>
                <a:highlight>
                  <a:srgbClr val="FFFFFF"/>
                </a:highlight>
                <a:latin typeface="Söhne"/>
              </a:rPr>
              <a:t>DYNAMIEK</a:t>
            </a: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: Green als bewegend doel. Is wat vandaag groen is, dat morgen nog steeds?</a:t>
            </a:r>
          </a:p>
          <a:p>
            <a:pPr marR="0" lvl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nl-NL" sz="1600" b="0" i="0" u="none" strike="noStrike" kern="1200" cap="none" spc="0" normalizeH="0" baseline="0" noProof="0" dirty="0">
              <a:ln>
                <a:noFill/>
              </a:ln>
              <a:solidFill>
                <a:srgbClr val="616161"/>
              </a:solidFill>
              <a:effectLst/>
              <a:highlight>
                <a:srgbClr val="FFFFFF"/>
              </a:highlight>
              <a:uLnTx/>
              <a:uFillTx/>
              <a:latin typeface="Söhne"/>
              <a:ea typeface="+mn-ea"/>
              <a:cs typeface="+mn-cs"/>
            </a:endParaRPr>
          </a:p>
        </p:txBody>
      </p:sp>
      <p:sp>
        <p:nvSpPr>
          <p:cNvPr id="26" name="Tijdelijke aanduiding voor dianummer 25">
            <a:extLst>
              <a:ext uri="{FF2B5EF4-FFF2-40B4-BE49-F238E27FC236}">
                <a16:creationId xmlns:a16="http://schemas.microsoft.com/office/drawing/2014/main" id="{1FEA8166-CAE3-C27A-F549-617FA1BB12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9F87CD-0A17-480A-BA0C-CEA734C9A086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F96E46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pPr marL="0" marR="0" lvl="0" indent="0" algn="l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F96E46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31" name="Diagram 30">
            <a:extLst>
              <a:ext uri="{FF2B5EF4-FFF2-40B4-BE49-F238E27FC236}">
                <a16:creationId xmlns:a16="http://schemas.microsoft.com/office/drawing/2014/main" id="{3951FD3B-61D3-7F28-A586-82C1D0A4B8B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67978967"/>
              </p:ext>
            </p:extLst>
          </p:nvPr>
        </p:nvGraphicFramePr>
        <p:xfrm>
          <a:off x="-105697" y="1509995"/>
          <a:ext cx="5432042" cy="42166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2" name="Tekstvak 31">
            <a:extLst>
              <a:ext uri="{FF2B5EF4-FFF2-40B4-BE49-F238E27FC236}">
                <a16:creationId xmlns:a16="http://schemas.microsoft.com/office/drawing/2014/main" id="{E81E86C2-0B72-FB1D-9D7B-003A438B3D30}"/>
              </a:ext>
            </a:extLst>
          </p:cNvPr>
          <p:cNvSpPr txBox="1"/>
          <p:nvPr/>
        </p:nvSpPr>
        <p:spPr>
          <a:xfrm>
            <a:off x="1860126" y="5557387"/>
            <a:ext cx="13225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Green = ESG</a:t>
            </a:r>
          </a:p>
        </p:txBody>
      </p:sp>
      <p:pic>
        <p:nvPicPr>
          <p:cNvPr id="11" name="Graphic 10" descr="Passer met effen opvulling">
            <a:extLst>
              <a:ext uri="{FF2B5EF4-FFF2-40B4-BE49-F238E27FC236}">
                <a16:creationId xmlns:a16="http://schemas.microsoft.com/office/drawing/2014/main" id="{4E399BD8-8B39-BF48-0954-5835B77CF09E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423006" y="3364411"/>
            <a:ext cx="406875" cy="406875"/>
          </a:xfrm>
          <a:prstGeom prst="rect">
            <a:avLst/>
          </a:prstGeom>
        </p:spPr>
      </p:pic>
      <p:pic>
        <p:nvPicPr>
          <p:cNvPr id="23" name="Graphic 22" descr="Willekeurige volgorde met effen opvulling">
            <a:extLst>
              <a:ext uri="{FF2B5EF4-FFF2-40B4-BE49-F238E27FC236}">
                <a16:creationId xmlns:a16="http://schemas.microsoft.com/office/drawing/2014/main" id="{C578A0FD-B87B-821E-56DB-460B5DB0482B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419481" y="3999330"/>
            <a:ext cx="410400" cy="410400"/>
          </a:xfrm>
          <a:prstGeom prst="rect">
            <a:avLst/>
          </a:prstGeom>
        </p:spPr>
      </p:pic>
      <p:pic>
        <p:nvPicPr>
          <p:cNvPr id="33" name="Graphic 32" descr="Doel met effen opvulling">
            <a:extLst>
              <a:ext uri="{FF2B5EF4-FFF2-40B4-BE49-F238E27FC236}">
                <a16:creationId xmlns:a16="http://schemas.microsoft.com/office/drawing/2014/main" id="{419FF631-858E-8852-C16F-9317A04F7D02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423006" y="2749951"/>
            <a:ext cx="410400" cy="410400"/>
          </a:xfrm>
          <a:prstGeom prst="rect">
            <a:avLst/>
          </a:prstGeom>
        </p:spPr>
      </p:pic>
      <p:sp>
        <p:nvSpPr>
          <p:cNvPr id="3" name="TextBox 7">
            <a:extLst>
              <a:ext uri="{FF2B5EF4-FFF2-40B4-BE49-F238E27FC236}">
                <a16:creationId xmlns:a16="http://schemas.microsoft.com/office/drawing/2014/main" id="{4465AEEE-97CC-D983-A247-5118275EDC4C}"/>
              </a:ext>
            </a:extLst>
          </p:cNvPr>
          <p:cNvSpPr txBox="1"/>
          <p:nvPr/>
        </p:nvSpPr>
        <p:spPr>
          <a:xfrm>
            <a:off x="5326345" y="2178350"/>
            <a:ext cx="57912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228600">
              <a:defRPr/>
            </a:pPr>
            <a:r>
              <a:rPr lang="nl-NL" sz="1600" b="1" dirty="0">
                <a:solidFill>
                  <a:srgbClr val="F96E46"/>
                </a:solidFill>
                <a:latin typeface="Corbel"/>
                <a:ea typeface="+mn-lt"/>
                <a:cs typeface="+mn-lt"/>
              </a:rPr>
              <a:t>DUURZAAMHEID IN CONTEXT</a:t>
            </a:r>
          </a:p>
        </p:txBody>
      </p:sp>
    </p:spTree>
    <p:extLst>
      <p:ext uri="{BB962C8B-B14F-4D97-AF65-F5344CB8AC3E}">
        <p14:creationId xmlns:p14="http://schemas.microsoft.com/office/powerpoint/2010/main" val="1936447965"/>
      </p:ext>
    </p:extLst>
  </p:cSld>
  <p:clrMapOvr>
    <a:masterClrMapping/>
  </p:clrMapOvr>
  <p:transition spd="slow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6CD96628-C4AC-2B26-4064-2C4F57DD5A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l-NL" dirty="0"/>
              <a:t>De </a:t>
            </a:r>
            <a:r>
              <a:rPr lang="nl-NL" dirty="0" err="1"/>
              <a:t>impACT</a:t>
            </a:r>
            <a:r>
              <a:rPr lang="nl-NL" dirty="0"/>
              <a:t> VAN Green (</a:t>
            </a:r>
            <a:r>
              <a:rPr lang="nl-NL" dirty="0" err="1"/>
              <a:t>by</a:t>
            </a:r>
            <a:r>
              <a:rPr lang="nl-NL" dirty="0"/>
              <a:t>) IT</a:t>
            </a:r>
            <a:endParaRPr lang="en-GB" dirty="0"/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D8CEAE64-CE2D-348F-38E5-07FB791D78E8}"/>
              </a:ext>
            </a:extLst>
          </p:cNvPr>
          <p:cNvSpPr txBox="1"/>
          <p:nvPr/>
        </p:nvSpPr>
        <p:spPr>
          <a:xfrm>
            <a:off x="1346200" y="1435406"/>
            <a:ext cx="4966395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nl-NL" sz="1600" b="0" i="0" u="none" strike="noStrike" kern="1200" cap="none" spc="0" normalizeH="0" baseline="0" noProof="0" dirty="0">
              <a:ln>
                <a:noFill/>
              </a:ln>
              <a:solidFill>
                <a:srgbClr val="616161"/>
              </a:solidFill>
              <a:effectLst/>
              <a:highlight>
                <a:srgbClr val="FFFFFF"/>
              </a:highlight>
              <a:uLnTx/>
              <a:uFillTx/>
              <a:latin typeface="Söhne"/>
              <a:ea typeface="+mn-ea"/>
              <a:cs typeface="+mn-cs"/>
            </a:endParaRPr>
          </a:p>
          <a:p>
            <a:pPr marR="0" lvl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nl-NL" sz="1600" b="0" i="0" u="none" strike="noStrike" kern="1200" cap="none" spc="0" normalizeH="0" baseline="0" noProof="0" dirty="0">
              <a:ln>
                <a:noFill/>
              </a:ln>
              <a:solidFill>
                <a:srgbClr val="616161"/>
              </a:solidFill>
              <a:effectLst/>
              <a:highlight>
                <a:srgbClr val="FFFFFF"/>
              </a:highlight>
              <a:uLnTx/>
              <a:uFillTx/>
              <a:latin typeface="Söhne"/>
              <a:ea typeface="+mn-ea"/>
              <a:cs typeface="+mn-cs"/>
            </a:endParaRP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600" b="0" i="0" u="none" strike="noStrike" kern="1200" cap="none" spc="0" normalizeH="0" baseline="0" noProof="0" dirty="0">
              <a:ln>
                <a:noFill/>
              </a:ln>
              <a:solidFill>
                <a:srgbClr val="616161"/>
              </a:solidFill>
              <a:effectLst/>
              <a:highlight>
                <a:srgbClr val="FFFFFF"/>
              </a:highlight>
              <a:uLnTx/>
              <a:uFillTx/>
              <a:latin typeface="Söhne"/>
              <a:ea typeface="+mn-ea"/>
              <a:cs typeface="+mn-cs"/>
            </a:endParaRP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1" i="0" u="none" strike="noStrike" kern="1200" cap="none" spc="0" normalizeH="0" baseline="0" noProof="0" dirty="0">
                <a:ln>
                  <a:noFill/>
                </a:ln>
                <a:solidFill>
                  <a:srgbClr val="1D5F93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GREEN IT</a:t>
            </a:r>
            <a:r>
              <a:rPr lang="nl-NL" sz="1600" b="1" dirty="0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 is een IT aangelegenheid</a:t>
            </a:r>
            <a:r>
              <a:rPr kumimoji="0" lang="nl-NL" sz="1600" b="1" i="0" u="none" strike="noStrike" kern="120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 </a:t>
            </a:r>
            <a:br>
              <a:rPr kumimoji="0" lang="nl-NL" sz="1600" b="1" i="0" u="none" strike="noStrike" kern="120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</a:b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verduurzamen van Data en IT als doel op zich  </a:t>
            </a:r>
            <a:b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</a:br>
            <a:endParaRPr kumimoji="0" lang="nl-NL" sz="1600" b="0" i="0" u="none" strike="noStrike" kern="1200" cap="none" spc="0" normalizeH="0" baseline="0" noProof="0" dirty="0">
              <a:ln>
                <a:noFill/>
              </a:ln>
              <a:solidFill>
                <a:srgbClr val="616161"/>
              </a:solidFill>
              <a:effectLst/>
              <a:highlight>
                <a:srgbClr val="FFFFFF"/>
              </a:highlight>
              <a:uLnTx/>
              <a:uFillTx/>
              <a:latin typeface="Söhne"/>
              <a:ea typeface="+mn-ea"/>
              <a:cs typeface="+mn-cs"/>
            </a:endParaRP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1" i="0" u="none" strike="noStrike" kern="1200" cap="none" spc="0" normalizeH="0" baseline="0" noProof="0" dirty="0">
                <a:ln>
                  <a:noFill/>
                </a:ln>
                <a:solidFill>
                  <a:srgbClr val="1D5F93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GREEN BY IT</a:t>
            </a:r>
            <a:r>
              <a:rPr lang="nl-NL" sz="1600" b="1" dirty="0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 is een business aangelegenheid</a:t>
            </a:r>
            <a:b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</a:b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data en IT als instrument om business duurzaamheidsdoelen te realiseren </a:t>
            </a:r>
            <a:b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</a:br>
            <a:endParaRPr kumimoji="0" lang="nl-NL" sz="1600" b="0" i="0" u="none" strike="noStrike" kern="1200" cap="none" spc="0" normalizeH="0" baseline="0" noProof="0" dirty="0">
              <a:ln>
                <a:noFill/>
              </a:ln>
              <a:solidFill>
                <a:srgbClr val="616161"/>
              </a:solidFill>
              <a:effectLst/>
              <a:highlight>
                <a:srgbClr val="FFFFFF"/>
              </a:highlight>
              <a:uLnTx/>
              <a:uFillTx/>
              <a:latin typeface="Söhne"/>
              <a:ea typeface="+mn-ea"/>
              <a:cs typeface="+mn-cs"/>
            </a:endParaRPr>
          </a:p>
        </p:txBody>
      </p:sp>
      <p:sp>
        <p:nvSpPr>
          <p:cNvPr id="26" name="Tijdelijke aanduiding voor dianummer 25">
            <a:extLst>
              <a:ext uri="{FF2B5EF4-FFF2-40B4-BE49-F238E27FC236}">
                <a16:creationId xmlns:a16="http://schemas.microsoft.com/office/drawing/2014/main" id="{1FEA8166-CAE3-C27A-F549-617FA1BB12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9F87CD-0A17-480A-BA0C-CEA734C9A086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F96E46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pPr marL="0" marR="0" lvl="0" indent="0" algn="l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F96E46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19" name="Graphic 18" descr="Hernieuwbare energie met effen opvulling">
            <a:extLst>
              <a:ext uri="{FF2B5EF4-FFF2-40B4-BE49-F238E27FC236}">
                <a16:creationId xmlns:a16="http://schemas.microsoft.com/office/drawing/2014/main" id="{8A4F65C4-0C6C-7433-4712-B633E555B09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8936" y="2197997"/>
            <a:ext cx="410400" cy="410400"/>
          </a:xfrm>
          <a:prstGeom prst="rect">
            <a:avLst/>
          </a:prstGeom>
        </p:spPr>
      </p:pic>
      <p:pic>
        <p:nvPicPr>
          <p:cNvPr id="21" name="Graphic 20" descr="Robot met effen opvulling">
            <a:extLst>
              <a:ext uri="{FF2B5EF4-FFF2-40B4-BE49-F238E27FC236}">
                <a16:creationId xmlns:a16="http://schemas.microsoft.com/office/drawing/2014/main" id="{034827F3-3DC5-B1AF-DF6E-AAB39C9A8CE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85172" y="2971257"/>
            <a:ext cx="410400" cy="410400"/>
          </a:xfrm>
          <a:prstGeom prst="rect">
            <a:avLst/>
          </a:prstGeom>
        </p:spPr>
      </p:pic>
      <p:grpSp>
        <p:nvGrpSpPr>
          <p:cNvPr id="3" name="Groep 2">
            <a:extLst>
              <a:ext uri="{FF2B5EF4-FFF2-40B4-BE49-F238E27FC236}">
                <a16:creationId xmlns:a16="http://schemas.microsoft.com/office/drawing/2014/main" id="{AE2BE1FD-2447-D8BE-A5B7-32F2E1465967}"/>
              </a:ext>
            </a:extLst>
          </p:cNvPr>
          <p:cNvGrpSpPr>
            <a:grpSpLocks noChangeAspect="1"/>
          </p:cNvGrpSpPr>
          <p:nvPr/>
        </p:nvGrpSpPr>
        <p:grpSpPr>
          <a:xfrm>
            <a:off x="7415821" y="3029524"/>
            <a:ext cx="1611754" cy="2112136"/>
            <a:chOff x="5087242" y="3320997"/>
            <a:chExt cx="2043102" cy="2677399"/>
          </a:xfrm>
        </p:grpSpPr>
        <p:sp>
          <p:nvSpPr>
            <p:cNvPr id="4" name="Freeform: Shape 37">
              <a:extLst>
                <a:ext uri="{FF2B5EF4-FFF2-40B4-BE49-F238E27FC236}">
                  <a16:creationId xmlns:a16="http://schemas.microsoft.com/office/drawing/2014/main" id="{F29DBF4E-E212-6D73-114B-0983C2504CFB}"/>
                </a:ext>
              </a:extLst>
            </p:cNvPr>
            <p:cNvSpPr/>
            <p:nvPr/>
          </p:nvSpPr>
          <p:spPr>
            <a:xfrm>
              <a:off x="5087242" y="3320997"/>
              <a:ext cx="1613327" cy="1493822"/>
            </a:xfrm>
            <a:custGeom>
              <a:avLst/>
              <a:gdLst>
                <a:gd name="connsiteX0" fmla="*/ 4098 w 257175"/>
                <a:gd name="connsiteY0" fmla="*/ 1483 h 238125"/>
                <a:gd name="connsiteX1" fmla="*/ 53472 w 257175"/>
                <a:gd name="connsiteY1" fmla="*/ 40059 h 238125"/>
                <a:gd name="connsiteX2" fmla="*/ 7002 w 257175"/>
                <a:gd name="connsiteY2" fmla="*/ 129082 h 238125"/>
                <a:gd name="connsiteX3" fmla="*/ 49115 w 257175"/>
                <a:gd name="connsiteY3" fmla="*/ 224036 h 238125"/>
                <a:gd name="connsiteX4" fmla="*/ 149315 w 257175"/>
                <a:gd name="connsiteY4" fmla="*/ 238873 h 238125"/>
                <a:gd name="connsiteX5" fmla="*/ 214663 w 257175"/>
                <a:gd name="connsiteY5" fmla="*/ 132048 h 238125"/>
                <a:gd name="connsiteX6" fmla="*/ 264036 w 257175"/>
                <a:gd name="connsiteY6" fmla="*/ 158755 h 238125"/>
                <a:gd name="connsiteX7" fmla="*/ 178359 w 257175"/>
                <a:gd name="connsiteY7" fmla="*/ 0 h 238125"/>
                <a:gd name="connsiteX8" fmla="*/ 4100 w 257175"/>
                <a:gd name="connsiteY8" fmla="*/ 1483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7175" h="238125">
                  <a:moveTo>
                    <a:pt x="4098" y="1483"/>
                  </a:moveTo>
                  <a:lnTo>
                    <a:pt x="53472" y="40059"/>
                  </a:lnTo>
                  <a:lnTo>
                    <a:pt x="7002" y="129082"/>
                  </a:lnTo>
                  <a:cubicBezTo>
                    <a:pt x="-16232" y="170131"/>
                    <a:pt x="23683" y="210120"/>
                    <a:pt x="49115" y="224036"/>
                  </a:cubicBezTo>
                  <a:cubicBezTo>
                    <a:pt x="74151" y="237738"/>
                    <a:pt x="113011" y="239368"/>
                    <a:pt x="149315" y="238873"/>
                  </a:cubicBezTo>
                  <a:lnTo>
                    <a:pt x="214663" y="132048"/>
                  </a:lnTo>
                  <a:lnTo>
                    <a:pt x="264036" y="158755"/>
                  </a:lnTo>
                  <a:lnTo>
                    <a:pt x="178359" y="0"/>
                  </a:lnTo>
                  <a:lnTo>
                    <a:pt x="4100" y="1483"/>
                  </a:lnTo>
                  <a:close/>
                </a:path>
              </a:pathLst>
            </a:custGeom>
            <a:solidFill>
              <a:schemeClr val="accent2"/>
            </a:solidFill>
            <a:ln w="290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endParaRPr>
            </a:p>
          </p:txBody>
        </p:sp>
        <p:sp>
          <p:nvSpPr>
            <p:cNvPr id="6" name="Freeform: Shape 38">
              <a:extLst>
                <a:ext uri="{FF2B5EF4-FFF2-40B4-BE49-F238E27FC236}">
                  <a16:creationId xmlns:a16="http://schemas.microsoft.com/office/drawing/2014/main" id="{1A4F32D2-390E-D44D-F94A-8E248A06C677}"/>
                </a:ext>
              </a:extLst>
            </p:cNvPr>
            <p:cNvSpPr/>
            <p:nvPr/>
          </p:nvSpPr>
          <p:spPr>
            <a:xfrm>
              <a:off x="5158500" y="4624080"/>
              <a:ext cx="1971844" cy="1374316"/>
            </a:xfrm>
            <a:custGeom>
              <a:avLst/>
              <a:gdLst>
                <a:gd name="connsiteX0" fmla="*/ 0 w 314325"/>
                <a:gd name="connsiteY0" fmla="*/ 1 h 219075"/>
                <a:gd name="connsiteX1" fmla="*/ 106004 w 314325"/>
                <a:gd name="connsiteY1" fmla="*/ 195853 h 219075"/>
                <a:gd name="connsiteX2" fmla="*/ 209110 w 314325"/>
                <a:gd name="connsiteY2" fmla="*/ 228495 h 219075"/>
                <a:gd name="connsiteX3" fmla="*/ 320927 w 314325"/>
                <a:gd name="connsiteY3" fmla="*/ 228495 h 219075"/>
                <a:gd name="connsiteX4" fmla="*/ 320927 w 314325"/>
                <a:gd name="connsiteY4" fmla="*/ 43027 h 219075"/>
                <a:gd name="connsiteX5" fmla="*/ 108910 w 314325"/>
                <a:gd name="connsiteY5" fmla="*/ 41544 h 219075"/>
                <a:gd name="connsiteX6" fmla="*/ 0 w 314325"/>
                <a:gd name="connsiteY6" fmla="*/ 0 h 219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4325" h="219075">
                  <a:moveTo>
                    <a:pt x="0" y="1"/>
                  </a:moveTo>
                  <a:lnTo>
                    <a:pt x="106004" y="195853"/>
                  </a:lnTo>
                  <a:cubicBezTo>
                    <a:pt x="127302" y="223055"/>
                    <a:pt x="167479" y="229484"/>
                    <a:pt x="209110" y="228495"/>
                  </a:cubicBezTo>
                  <a:lnTo>
                    <a:pt x="320927" y="228495"/>
                  </a:lnTo>
                  <a:lnTo>
                    <a:pt x="320927" y="43027"/>
                  </a:lnTo>
                  <a:lnTo>
                    <a:pt x="108910" y="41544"/>
                  </a:lnTo>
                  <a:cubicBezTo>
                    <a:pt x="75995" y="43522"/>
                    <a:pt x="32914" y="36598"/>
                    <a:pt x="0" y="0"/>
                  </a:cubicBezTo>
                  <a:close/>
                </a:path>
              </a:pathLst>
            </a:cu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/>
                <a:ea typeface="+mn-ea"/>
                <a:cs typeface="+mn-cs"/>
              </a:endParaRPr>
            </a:p>
          </p:txBody>
        </p:sp>
        <p:pic>
          <p:nvPicPr>
            <p:cNvPr id="7" name="Graphic 6" descr="Cloud Computing met effen opvulling">
              <a:extLst>
                <a:ext uri="{FF2B5EF4-FFF2-40B4-BE49-F238E27FC236}">
                  <a16:creationId xmlns:a16="http://schemas.microsoft.com/office/drawing/2014/main" id="{293A00B4-8B0E-4FF6-BFB0-381F7CA30FC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385032" y="3699597"/>
              <a:ext cx="843190" cy="843190"/>
            </a:xfrm>
            <a:prstGeom prst="rect">
              <a:avLst/>
            </a:prstGeom>
          </p:spPr>
        </p:pic>
      </p:grpSp>
      <p:grpSp>
        <p:nvGrpSpPr>
          <p:cNvPr id="8" name="Groep 7">
            <a:extLst>
              <a:ext uri="{FF2B5EF4-FFF2-40B4-BE49-F238E27FC236}">
                <a16:creationId xmlns:a16="http://schemas.microsoft.com/office/drawing/2014/main" id="{1A59984F-3B84-A06F-1D0F-4F74C96934DC}"/>
              </a:ext>
            </a:extLst>
          </p:cNvPr>
          <p:cNvGrpSpPr>
            <a:grpSpLocks noChangeAspect="1"/>
          </p:cNvGrpSpPr>
          <p:nvPr/>
        </p:nvGrpSpPr>
        <p:grpSpPr>
          <a:xfrm>
            <a:off x="9184532" y="2955088"/>
            <a:ext cx="1772765" cy="2505752"/>
            <a:chOff x="7521583" y="3308946"/>
            <a:chExt cx="2181202" cy="3083066"/>
          </a:xfrm>
        </p:grpSpPr>
        <p:sp>
          <p:nvSpPr>
            <p:cNvPr id="9" name="Freeform: Shape 33">
              <a:extLst>
                <a:ext uri="{FF2B5EF4-FFF2-40B4-BE49-F238E27FC236}">
                  <a16:creationId xmlns:a16="http://schemas.microsoft.com/office/drawing/2014/main" id="{9782C986-6848-D3DA-241E-ADF01FD643FC}"/>
                </a:ext>
              </a:extLst>
            </p:cNvPr>
            <p:cNvSpPr/>
            <p:nvPr/>
          </p:nvSpPr>
          <p:spPr>
            <a:xfrm>
              <a:off x="8268716" y="3308946"/>
              <a:ext cx="1434069" cy="1493822"/>
            </a:xfrm>
            <a:custGeom>
              <a:avLst/>
              <a:gdLst>
                <a:gd name="connsiteX0" fmla="*/ 6 w 228600"/>
                <a:gd name="connsiteY0" fmla="*/ 96525 h 238125"/>
                <a:gd name="connsiteX1" fmla="*/ 158135 w 228600"/>
                <a:gd name="connsiteY1" fmla="*/ 0 h 238125"/>
                <a:gd name="connsiteX2" fmla="*/ 228988 w 228600"/>
                <a:gd name="connsiteY2" fmla="*/ 139539 h 238125"/>
                <a:gd name="connsiteX3" fmla="*/ 77013 w 228600"/>
                <a:gd name="connsiteY3" fmla="*/ 239205 h 238125"/>
                <a:gd name="connsiteX4" fmla="*/ 0 w 228600"/>
                <a:gd name="connsiteY4" fmla="*/ 96525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600" h="238125">
                  <a:moveTo>
                    <a:pt x="6" y="96525"/>
                  </a:moveTo>
                  <a:lnTo>
                    <a:pt x="158135" y="0"/>
                  </a:lnTo>
                  <a:lnTo>
                    <a:pt x="228988" y="139539"/>
                  </a:lnTo>
                  <a:cubicBezTo>
                    <a:pt x="246102" y="215776"/>
                    <a:pt x="152317" y="243757"/>
                    <a:pt x="77013" y="239205"/>
                  </a:cubicBezTo>
                  <a:lnTo>
                    <a:pt x="0" y="96525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290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endParaRPr>
            </a:p>
          </p:txBody>
        </p:sp>
        <p:sp>
          <p:nvSpPr>
            <p:cNvPr id="10" name="Freeform: Shape 34">
              <a:extLst>
                <a:ext uri="{FF2B5EF4-FFF2-40B4-BE49-F238E27FC236}">
                  <a16:creationId xmlns:a16="http://schemas.microsoft.com/office/drawing/2014/main" id="{BDDF708E-09B0-DCCA-7067-3A6D73D77DE6}"/>
                </a:ext>
              </a:extLst>
            </p:cNvPr>
            <p:cNvSpPr/>
            <p:nvPr/>
          </p:nvSpPr>
          <p:spPr>
            <a:xfrm>
              <a:off x="7521583" y="4539673"/>
              <a:ext cx="2091350" cy="1852339"/>
            </a:xfrm>
            <a:custGeom>
              <a:avLst/>
              <a:gdLst>
                <a:gd name="connsiteX0" fmla="*/ 83173 w 333375"/>
                <a:gd name="connsiteY0" fmla="*/ 5 h 295275"/>
                <a:gd name="connsiteX1" fmla="*/ 0 w 333375"/>
                <a:gd name="connsiteY1" fmla="*/ 150031 h 295275"/>
                <a:gd name="connsiteX2" fmla="*/ 83173 w 333375"/>
                <a:gd name="connsiteY2" fmla="*/ 302155 h 295275"/>
                <a:gd name="connsiteX3" fmla="*/ 85227 w 333375"/>
                <a:gd name="connsiteY3" fmla="*/ 241304 h 295275"/>
                <a:gd name="connsiteX4" fmla="*/ 161214 w 333375"/>
                <a:gd name="connsiteY4" fmla="*/ 241304 h 295275"/>
                <a:gd name="connsiteX5" fmla="*/ 238227 w 333375"/>
                <a:gd name="connsiteY5" fmla="*/ 198290 h 295275"/>
                <a:gd name="connsiteX6" fmla="*/ 335778 w 333375"/>
                <a:gd name="connsiteY6" fmla="*/ 15737 h 295275"/>
                <a:gd name="connsiteX7" fmla="*/ 214614 w 333375"/>
                <a:gd name="connsiteY7" fmla="*/ 56653 h 295275"/>
                <a:gd name="connsiteX8" fmla="*/ 86262 w 333375"/>
                <a:gd name="connsiteY8" fmla="*/ 56653 h 295275"/>
                <a:gd name="connsiteX9" fmla="*/ 83181 w 333375"/>
                <a:gd name="connsiteY9" fmla="*/ 0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3375" h="295275">
                  <a:moveTo>
                    <a:pt x="83173" y="5"/>
                  </a:moveTo>
                  <a:lnTo>
                    <a:pt x="0" y="150031"/>
                  </a:lnTo>
                  <a:lnTo>
                    <a:pt x="83173" y="302155"/>
                  </a:lnTo>
                  <a:lnTo>
                    <a:pt x="85227" y="241304"/>
                  </a:lnTo>
                  <a:lnTo>
                    <a:pt x="161214" y="241304"/>
                  </a:lnTo>
                  <a:cubicBezTo>
                    <a:pt x="188938" y="243752"/>
                    <a:pt x="224878" y="225217"/>
                    <a:pt x="238227" y="198290"/>
                  </a:cubicBezTo>
                  <a:lnTo>
                    <a:pt x="335778" y="15737"/>
                  </a:lnTo>
                  <a:cubicBezTo>
                    <a:pt x="303605" y="48260"/>
                    <a:pt x="262233" y="56653"/>
                    <a:pt x="214614" y="56653"/>
                  </a:cubicBezTo>
                  <a:lnTo>
                    <a:pt x="86262" y="56653"/>
                  </a:lnTo>
                  <a:lnTo>
                    <a:pt x="83181" y="0"/>
                  </a:lnTo>
                  <a:close/>
                </a:path>
              </a:pathLst>
            </a:custGeom>
            <a:solidFill>
              <a:schemeClr val="accent6"/>
            </a:solidFill>
            <a:ln w="290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endParaRPr>
            </a:p>
          </p:txBody>
        </p:sp>
        <p:pic>
          <p:nvPicPr>
            <p:cNvPr id="12" name="Graphic 11" descr="Cirkels met pijlen met effen opvulling">
              <a:extLst>
                <a:ext uri="{FF2B5EF4-FFF2-40B4-BE49-F238E27FC236}">
                  <a16:creationId xmlns:a16="http://schemas.microsoft.com/office/drawing/2014/main" id="{44824089-E8EE-CBF7-FC9C-69AE1D506FC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897829" y="5006070"/>
              <a:ext cx="914400" cy="914400"/>
            </a:xfrm>
            <a:prstGeom prst="rect">
              <a:avLst/>
            </a:prstGeom>
          </p:spPr>
        </p:pic>
      </p:grpSp>
      <p:grpSp>
        <p:nvGrpSpPr>
          <p:cNvPr id="13" name="Groep 12">
            <a:extLst>
              <a:ext uri="{FF2B5EF4-FFF2-40B4-BE49-F238E27FC236}">
                <a16:creationId xmlns:a16="http://schemas.microsoft.com/office/drawing/2014/main" id="{0CEC6FDF-9CC5-44D9-15FF-2E2D14801F9B}"/>
              </a:ext>
            </a:extLst>
          </p:cNvPr>
          <p:cNvGrpSpPr>
            <a:grpSpLocks noChangeAspect="1"/>
          </p:cNvGrpSpPr>
          <p:nvPr/>
        </p:nvGrpSpPr>
        <p:grpSpPr>
          <a:xfrm>
            <a:off x="7934396" y="1908172"/>
            <a:ext cx="2678011" cy="1277273"/>
            <a:chOff x="5877906" y="1804353"/>
            <a:chExt cx="3230004" cy="1540545"/>
          </a:xfrm>
        </p:grpSpPr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DA9DDB9D-56C0-6847-BFC5-CC5F9CDA42E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877906" y="1804353"/>
              <a:ext cx="3230004" cy="1540545"/>
              <a:chOff x="5877906" y="1804353"/>
              <a:chExt cx="3230004" cy="1540545"/>
            </a:xfrm>
          </p:grpSpPr>
          <p:sp>
            <p:nvSpPr>
              <p:cNvPr id="16" name="Freeform: Shape 35">
                <a:extLst>
                  <a:ext uri="{FF2B5EF4-FFF2-40B4-BE49-F238E27FC236}">
                    <a16:creationId xmlns:a16="http://schemas.microsoft.com/office/drawing/2014/main" id="{36D9653F-047D-DFDF-A6CD-C410235A1ABD}"/>
                  </a:ext>
                </a:extLst>
              </p:cNvPr>
              <p:cNvSpPr/>
              <p:nvPr/>
            </p:nvSpPr>
            <p:spPr>
              <a:xfrm>
                <a:off x="5877906" y="1851076"/>
                <a:ext cx="1493821" cy="1493822"/>
              </a:xfrm>
              <a:custGeom>
                <a:avLst/>
                <a:gdLst>
                  <a:gd name="connsiteX0" fmla="*/ 159347 w 238125"/>
                  <a:gd name="connsiteY0" fmla="*/ 243615 h 238125"/>
                  <a:gd name="connsiteX1" fmla="*/ 0 w 238125"/>
                  <a:gd name="connsiteY1" fmla="*/ 149207 h 238125"/>
                  <a:gd name="connsiteX2" fmla="*/ 85012 w 238125"/>
                  <a:gd name="connsiteY2" fmla="*/ 18190 h 238125"/>
                  <a:gd name="connsiteX3" fmla="*/ 244064 w 238125"/>
                  <a:gd name="connsiteY3" fmla="*/ 105568 h 238125"/>
                  <a:gd name="connsiteX4" fmla="*/ 159349 w 238125"/>
                  <a:gd name="connsiteY4" fmla="*/ 243620 h 23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8125" h="238125">
                    <a:moveTo>
                      <a:pt x="159347" y="243615"/>
                    </a:moveTo>
                    <a:lnTo>
                      <a:pt x="0" y="149207"/>
                    </a:lnTo>
                    <a:lnTo>
                      <a:pt x="85012" y="18190"/>
                    </a:lnTo>
                    <a:cubicBezTo>
                      <a:pt x="141943" y="-34102"/>
                      <a:pt x="211409" y="36095"/>
                      <a:pt x="244064" y="105568"/>
                    </a:cubicBezTo>
                    <a:lnTo>
                      <a:pt x="159349" y="243620"/>
                    </a:lnTo>
                    <a:close/>
                  </a:path>
                </a:pathLst>
              </a:custGeom>
              <a:solidFill>
                <a:srgbClr val="CE5C3A"/>
              </a:solidFill>
              <a:ln w="29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2286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  <a:ea typeface="+mn-ea"/>
                  <a:cs typeface="+mn-cs"/>
                </a:endParaRPr>
              </a:p>
            </p:txBody>
          </p:sp>
          <p:sp>
            <p:nvSpPr>
              <p:cNvPr id="17" name="Freeform: Shape 36">
                <a:extLst>
                  <a:ext uri="{FF2B5EF4-FFF2-40B4-BE49-F238E27FC236}">
                    <a16:creationId xmlns:a16="http://schemas.microsoft.com/office/drawing/2014/main" id="{72E652C6-0641-6209-7C03-75A44CC24ACC}"/>
                  </a:ext>
                </a:extLst>
              </p:cNvPr>
              <p:cNvSpPr/>
              <p:nvPr/>
            </p:nvSpPr>
            <p:spPr>
              <a:xfrm>
                <a:off x="6837301" y="1804353"/>
                <a:ext cx="2270609" cy="1434069"/>
              </a:xfrm>
              <a:custGeom>
                <a:avLst/>
                <a:gdLst>
                  <a:gd name="connsiteX0" fmla="*/ 109150 w 361950"/>
                  <a:gd name="connsiteY0" fmla="*/ 234791 h 228600"/>
                  <a:gd name="connsiteX1" fmla="*/ 277900 w 361950"/>
                  <a:gd name="connsiteY1" fmla="*/ 236269 h 228600"/>
                  <a:gd name="connsiteX2" fmla="*/ 367704 w 361950"/>
                  <a:gd name="connsiteY2" fmla="*/ 88133 h 228600"/>
                  <a:gd name="connsiteX3" fmla="*/ 314637 w 361950"/>
                  <a:gd name="connsiteY3" fmla="*/ 115835 h 228600"/>
                  <a:gd name="connsiteX4" fmla="*/ 277754 w 361950"/>
                  <a:gd name="connsiteY4" fmla="*/ 47957 h 228600"/>
                  <a:gd name="connsiteX5" fmla="*/ 203564 w 361950"/>
                  <a:gd name="connsiteY5" fmla="*/ 41 h 228600"/>
                  <a:gd name="connsiteX6" fmla="*/ 0 w 361950"/>
                  <a:gd name="connsiteY6" fmla="*/ 1508 h 228600"/>
                  <a:gd name="connsiteX7" fmla="*/ 93824 w 361950"/>
                  <a:gd name="connsiteY7" fmla="*/ 89885 h 228600"/>
                  <a:gd name="connsiteX8" fmla="*/ 156125 w 361950"/>
                  <a:gd name="connsiteY8" fmla="*/ 204545 h 228600"/>
                  <a:gd name="connsiteX9" fmla="*/ 109141 w 361950"/>
                  <a:gd name="connsiteY9" fmla="*/ 234796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61950" h="228600">
                    <a:moveTo>
                      <a:pt x="109150" y="234791"/>
                    </a:moveTo>
                    <a:lnTo>
                      <a:pt x="277900" y="236269"/>
                    </a:lnTo>
                    <a:lnTo>
                      <a:pt x="367704" y="88133"/>
                    </a:lnTo>
                    <a:lnTo>
                      <a:pt x="314637" y="115835"/>
                    </a:lnTo>
                    <a:lnTo>
                      <a:pt x="277754" y="47957"/>
                    </a:lnTo>
                    <a:cubicBezTo>
                      <a:pt x="266392" y="22003"/>
                      <a:pt x="233086" y="-1105"/>
                      <a:pt x="203564" y="41"/>
                    </a:cubicBezTo>
                    <a:lnTo>
                      <a:pt x="0" y="1508"/>
                    </a:lnTo>
                    <a:cubicBezTo>
                      <a:pt x="43448" y="14463"/>
                      <a:pt x="70711" y="47346"/>
                      <a:pt x="93824" y="89885"/>
                    </a:cubicBezTo>
                    <a:lnTo>
                      <a:pt x="156125" y="204545"/>
                    </a:lnTo>
                    <a:lnTo>
                      <a:pt x="109141" y="234796"/>
                    </a:lnTo>
                    <a:close/>
                  </a:path>
                </a:pathLst>
              </a:custGeom>
              <a:ln/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2286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rbel"/>
                  <a:ea typeface="+mn-ea"/>
                  <a:cs typeface="+mn-cs"/>
                </a:endParaRPr>
              </a:p>
            </p:txBody>
          </p:sp>
        </p:grpSp>
        <p:pic>
          <p:nvPicPr>
            <p:cNvPr id="15" name="Graphic 14" descr="Speltactiekboekje met effen opvulling">
              <a:extLst>
                <a:ext uri="{FF2B5EF4-FFF2-40B4-BE49-F238E27FC236}">
                  <a16:creationId xmlns:a16="http://schemas.microsoft.com/office/drawing/2014/main" id="{4830EB4D-4777-27EF-A990-CC923BB5579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615251" y="2005877"/>
              <a:ext cx="914400" cy="914400"/>
            </a:xfrm>
            <a:prstGeom prst="rect">
              <a:avLst/>
            </a:prstGeom>
          </p:spPr>
        </p:pic>
      </p:grpSp>
      <p:sp>
        <p:nvSpPr>
          <p:cNvPr id="18" name="Tekstvak 17">
            <a:extLst>
              <a:ext uri="{FF2B5EF4-FFF2-40B4-BE49-F238E27FC236}">
                <a16:creationId xmlns:a16="http://schemas.microsoft.com/office/drawing/2014/main" id="{E507E359-0620-BFD9-0159-0335002FACFA}"/>
              </a:ext>
            </a:extLst>
          </p:cNvPr>
          <p:cNvSpPr txBox="1"/>
          <p:nvPr/>
        </p:nvSpPr>
        <p:spPr>
          <a:xfrm>
            <a:off x="8186498" y="3184360"/>
            <a:ext cx="199606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000" b="1" i="1" u="none" strike="noStrike" kern="1200" cap="none" spc="0" normalizeH="0" baseline="0" noProof="0" dirty="0">
                <a:ln>
                  <a:noFill/>
                </a:ln>
                <a:solidFill>
                  <a:srgbClr val="008F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GREEN </a:t>
            </a:r>
          </a:p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000" b="1" i="1" u="none" strike="noStrike" kern="1200" cap="none" spc="0" normalizeH="0" baseline="0" noProof="0" dirty="0">
                <a:ln>
                  <a:noFill/>
                </a:ln>
                <a:solidFill>
                  <a:srgbClr val="008F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(BY) </a:t>
            </a:r>
          </a:p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000" b="1" i="1" u="none" strike="noStrike" kern="1200" cap="none" spc="0" normalizeH="0" baseline="0" noProof="0" dirty="0">
                <a:ln>
                  <a:noFill/>
                </a:ln>
                <a:solidFill>
                  <a:srgbClr val="008F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IT</a:t>
            </a:r>
          </a:p>
        </p:txBody>
      </p:sp>
      <p:sp>
        <p:nvSpPr>
          <p:cNvPr id="20" name="Tekstvak 19">
            <a:extLst>
              <a:ext uri="{FF2B5EF4-FFF2-40B4-BE49-F238E27FC236}">
                <a16:creationId xmlns:a16="http://schemas.microsoft.com/office/drawing/2014/main" id="{8151B6AE-6B24-577D-6BA5-A813AA5BBEE0}"/>
              </a:ext>
            </a:extLst>
          </p:cNvPr>
          <p:cNvSpPr txBox="1"/>
          <p:nvPr/>
        </p:nvSpPr>
        <p:spPr>
          <a:xfrm>
            <a:off x="9934250" y="3294142"/>
            <a:ext cx="1568147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Processen </a:t>
            </a: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&amp; kennis</a:t>
            </a:r>
          </a:p>
        </p:txBody>
      </p:sp>
      <p:sp>
        <p:nvSpPr>
          <p:cNvPr id="22" name="Tekstvak 21">
            <a:extLst>
              <a:ext uri="{FF2B5EF4-FFF2-40B4-BE49-F238E27FC236}">
                <a16:creationId xmlns:a16="http://schemas.microsoft.com/office/drawing/2014/main" id="{BC32F970-81D7-0392-F326-88BA806ABE4A}"/>
              </a:ext>
            </a:extLst>
          </p:cNvPr>
          <p:cNvSpPr txBox="1"/>
          <p:nvPr/>
        </p:nvSpPr>
        <p:spPr>
          <a:xfrm>
            <a:off x="7929302" y="4478031"/>
            <a:ext cx="10150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400" b="1"/>
            </a:lvl1pPr>
          </a:lstStyle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Data &amp; IT</a:t>
            </a:r>
          </a:p>
        </p:txBody>
      </p:sp>
      <p:sp>
        <p:nvSpPr>
          <p:cNvPr id="24" name="Tekstvak 23">
            <a:extLst>
              <a:ext uri="{FF2B5EF4-FFF2-40B4-BE49-F238E27FC236}">
                <a16:creationId xmlns:a16="http://schemas.microsoft.com/office/drawing/2014/main" id="{35AA1929-4CE7-4B1D-0F56-82A8C91B5C4E}"/>
              </a:ext>
            </a:extLst>
          </p:cNvPr>
          <p:cNvSpPr txBox="1"/>
          <p:nvPr/>
        </p:nvSpPr>
        <p:spPr>
          <a:xfrm>
            <a:off x="8117408" y="2255478"/>
            <a:ext cx="14291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Strategie </a:t>
            </a: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&amp; Inzicht</a:t>
            </a:r>
          </a:p>
        </p:txBody>
      </p:sp>
      <p:sp>
        <p:nvSpPr>
          <p:cNvPr id="25" name="TextBox 7">
            <a:extLst>
              <a:ext uri="{FF2B5EF4-FFF2-40B4-BE49-F238E27FC236}">
                <a16:creationId xmlns:a16="http://schemas.microsoft.com/office/drawing/2014/main" id="{BDD82D1C-8EF0-3974-CBE3-71AB9BF82739}"/>
              </a:ext>
            </a:extLst>
          </p:cNvPr>
          <p:cNvSpPr txBox="1"/>
          <p:nvPr/>
        </p:nvSpPr>
        <p:spPr>
          <a:xfrm>
            <a:off x="685800" y="1631420"/>
            <a:ext cx="63246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228600">
              <a:defRPr/>
            </a:pPr>
            <a:r>
              <a:rPr lang="nl-NL" sz="1600" b="1" dirty="0">
                <a:solidFill>
                  <a:srgbClr val="F96E46"/>
                </a:solidFill>
                <a:latin typeface="Corbel"/>
                <a:ea typeface="+mn-lt"/>
                <a:cs typeface="+mn-lt"/>
              </a:rPr>
              <a:t>GREEN (BY) IT IS MEER DAN ENERGIEZUINIGE OPLOSSINGEN</a:t>
            </a:r>
          </a:p>
        </p:txBody>
      </p:sp>
    </p:spTree>
    <p:extLst>
      <p:ext uri="{BB962C8B-B14F-4D97-AF65-F5344CB8AC3E}">
        <p14:creationId xmlns:p14="http://schemas.microsoft.com/office/powerpoint/2010/main" val="48693703"/>
      </p:ext>
    </p:extLst>
  </p:cSld>
  <p:clrMapOvr>
    <a:masterClrMapping/>
  </p:clrMapOvr>
  <p:transition spd="slow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ijdelijke aanduiding voor afbeelding 7" descr="Afbeelding met hemel, buitenshuis, persoon, water&#10;&#10;Automatisch gegenereerde beschrijving">
            <a:extLst>
              <a:ext uri="{FF2B5EF4-FFF2-40B4-BE49-F238E27FC236}">
                <a16:creationId xmlns:a16="http://schemas.microsoft.com/office/drawing/2014/main" id="{6F26D249-F338-EAB9-4BD8-D7BA4C733F47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 cstate="screen">
            <a:duotone>
              <a:prstClr val="black"/>
              <a:srgbClr val="009193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689205" y="0"/>
            <a:ext cx="8502795" cy="6224845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5C13501E-19BA-7CBD-E0F6-0ADBFE69B6F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nl-NL" sz="4800" dirty="0"/>
              <a:t>Stelling:</a:t>
            </a:r>
            <a:br>
              <a:rPr lang="nl-NL" sz="4800" dirty="0"/>
            </a:br>
            <a:r>
              <a:rPr lang="nl-NL" sz="4800" dirty="0"/>
              <a:t>GREEN (BY) IT IS EEN KOSTENPOST VOOR DE CIO</a:t>
            </a:r>
          </a:p>
        </p:txBody>
      </p:sp>
    </p:spTree>
    <p:extLst>
      <p:ext uri="{BB962C8B-B14F-4D97-AF65-F5344CB8AC3E}">
        <p14:creationId xmlns:p14="http://schemas.microsoft.com/office/powerpoint/2010/main" val="293391432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6CD96628-C4AC-2B26-4064-2C4F57DD5A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l-NL" dirty="0"/>
              <a:t>Is GREEN (BY) IT </a:t>
            </a:r>
          </a:p>
          <a:p>
            <a:r>
              <a:rPr lang="nl-NL" dirty="0"/>
              <a:t>de investering waard? </a:t>
            </a:r>
          </a:p>
        </p:txBody>
      </p:sp>
      <p:sp>
        <p:nvSpPr>
          <p:cNvPr id="26" name="Tijdelijke aanduiding voor dianummer 25">
            <a:extLst>
              <a:ext uri="{FF2B5EF4-FFF2-40B4-BE49-F238E27FC236}">
                <a16:creationId xmlns:a16="http://schemas.microsoft.com/office/drawing/2014/main" id="{1FEA8166-CAE3-C27A-F549-617FA1BB12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prstGeom prst="ellipse">
            <a:avLst/>
          </a:prstGeom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9F87CD-0A17-480A-BA0C-CEA734C9A086}" type="slidenum">
              <a:rPr kumimoji="0" lang="nl-NL" sz="900" b="1" i="0" u="none" strike="noStrike" kern="1200" cap="none" spc="0" normalizeH="0" baseline="0" noProof="0" smtClean="0">
                <a:ln>
                  <a:noFill/>
                </a:ln>
                <a:solidFill>
                  <a:srgbClr val="F96E46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pPr marL="0" marR="0" lvl="0" indent="0" algn="l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l-NL" sz="900" b="1" i="0" u="none" strike="noStrike" kern="1200" cap="none" spc="0" normalizeH="0" baseline="0" noProof="0" dirty="0">
              <a:ln>
                <a:noFill/>
              </a:ln>
              <a:solidFill>
                <a:srgbClr val="F96E46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D8CEAE64-CE2D-348F-38E5-07FB791D78E8}"/>
              </a:ext>
            </a:extLst>
          </p:cNvPr>
          <p:cNvSpPr txBox="1"/>
          <p:nvPr/>
        </p:nvSpPr>
        <p:spPr>
          <a:xfrm>
            <a:off x="652812" y="1833273"/>
            <a:ext cx="6278930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Stel de juiste vragen:</a:t>
            </a: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600" b="0" i="0" u="none" strike="noStrike" kern="1200" cap="none" spc="0" normalizeH="0" baseline="0" noProof="0" dirty="0">
              <a:ln>
                <a:noFill/>
              </a:ln>
              <a:solidFill>
                <a:srgbClr val="616161"/>
              </a:solidFill>
              <a:effectLst/>
              <a:highlight>
                <a:srgbClr val="FFFFFF"/>
              </a:highlight>
              <a:uLnTx/>
              <a:uFillTx/>
              <a:latin typeface="Söhne"/>
              <a:ea typeface="+mn-ea"/>
              <a:cs typeface="+mn-cs"/>
            </a:endParaRPr>
          </a:p>
          <a:p>
            <a:pPr marL="285750" marR="0" lvl="0" indent="-2857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sz="1600" b="1" dirty="0">
                <a:solidFill>
                  <a:srgbClr val="1D5F93"/>
                </a:solidFill>
                <a:highlight>
                  <a:srgbClr val="FFFFFF"/>
                </a:highlight>
                <a:latin typeface="Söhne"/>
              </a:rPr>
              <a:t>WAT</a:t>
            </a: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 verstaan we onder Green IT? Welke (set aan) maatregelen hebben we voor ogen?</a:t>
            </a:r>
          </a:p>
          <a:p>
            <a:pPr marL="285750" marR="0" lvl="0" indent="-2857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sz="1600" b="1" dirty="0">
                <a:solidFill>
                  <a:srgbClr val="1D5F93"/>
                </a:solidFill>
                <a:highlight>
                  <a:srgbClr val="FFFFFF"/>
                </a:highlight>
                <a:latin typeface="Söhne"/>
              </a:rPr>
              <a:t>WIE</a:t>
            </a: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 investeert en bij wie liggen de baten? En hoe definiëren we kosten en baten?</a:t>
            </a:r>
          </a:p>
          <a:p>
            <a:pPr marL="285750" marR="0" lvl="0" indent="-2857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sz="1600" b="1" dirty="0">
                <a:solidFill>
                  <a:srgbClr val="1D5F93"/>
                </a:solidFill>
                <a:highlight>
                  <a:srgbClr val="FFFFFF"/>
                </a:highlight>
                <a:latin typeface="Söhne"/>
              </a:rPr>
              <a:t>WAAR</a:t>
            </a: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 ligt de beoogde impact: ligt dit binnen of buiten de organisatie?</a:t>
            </a:r>
          </a:p>
          <a:p>
            <a:pPr marL="285750" marR="0" lvl="0" indent="-2857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sz="1600" b="1" dirty="0">
                <a:solidFill>
                  <a:srgbClr val="1D5F93"/>
                </a:solidFill>
                <a:highlight>
                  <a:srgbClr val="FFFFFF"/>
                </a:highlight>
                <a:latin typeface="Söhne"/>
              </a:rPr>
              <a:t>WANNEER</a:t>
            </a: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 </a:t>
            </a:r>
            <a:r>
              <a:rPr lang="nl-NL" sz="1600" dirty="0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levert </a:t>
            </a: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het wat op? Wat is de tijdshorizon?</a:t>
            </a: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600" b="0" i="0" u="none" strike="noStrike" kern="1200" cap="none" spc="0" normalizeH="0" baseline="0" noProof="0" dirty="0">
              <a:ln>
                <a:noFill/>
              </a:ln>
              <a:solidFill>
                <a:srgbClr val="616161"/>
              </a:solidFill>
              <a:effectLst/>
              <a:highlight>
                <a:srgbClr val="FFFFFF"/>
              </a:highlight>
              <a:uLnTx/>
              <a:uFillTx/>
              <a:latin typeface="Söhne"/>
              <a:ea typeface="+mn-ea"/>
              <a:cs typeface="+mn-cs"/>
            </a:endParaRP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600" b="0" i="0" u="none" strike="noStrike" kern="1200" cap="none" spc="0" normalizeH="0" baseline="0" noProof="0" dirty="0">
              <a:ln>
                <a:noFill/>
              </a:ln>
              <a:solidFill>
                <a:srgbClr val="616161"/>
              </a:solidFill>
              <a:effectLst/>
              <a:highlight>
                <a:srgbClr val="FFFFFF"/>
              </a:highlight>
              <a:uLnTx/>
              <a:uFillTx/>
              <a:latin typeface="Söhne"/>
              <a:ea typeface="+mn-ea"/>
              <a:cs typeface="+mn-cs"/>
            </a:endParaRP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600" b="1" i="0" u="none" strike="noStrike" kern="1200" cap="none" spc="0" normalizeH="0" baseline="0" noProof="0" dirty="0">
              <a:ln>
                <a:noFill/>
              </a:ln>
              <a:solidFill>
                <a:srgbClr val="F96E46"/>
              </a:solidFill>
              <a:effectLst/>
              <a:uLnTx/>
              <a:uFillTx/>
              <a:latin typeface="Corbel"/>
              <a:ea typeface="+mn-lt"/>
              <a:cs typeface="+mn-lt"/>
            </a:endParaRP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1" i="0" u="none" strike="noStrike" kern="1200" cap="none" spc="0" normalizeH="0" baseline="0" noProof="0" dirty="0">
                <a:ln>
                  <a:noFill/>
                </a:ln>
                <a:solidFill>
                  <a:srgbClr val="F96E46"/>
                </a:solidFill>
                <a:effectLst/>
                <a:uLnTx/>
                <a:uFillTx/>
                <a:latin typeface="Corbel"/>
                <a:ea typeface="+mn-lt"/>
                <a:cs typeface="+mn-lt"/>
              </a:rPr>
              <a:t>IS ER EEN POSITIEVE BUSINESSCASE? JA MITS..</a:t>
            </a:r>
            <a:r>
              <a:rPr kumimoji="0" lang="en-NL" sz="1600" b="1" i="0" u="none" strike="noStrike" kern="1200" cap="none" spc="0" normalizeH="0" baseline="0" noProof="0">
                <a:ln>
                  <a:noFill/>
                </a:ln>
                <a:solidFill>
                  <a:srgbClr val="F96E46"/>
                </a:solidFill>
                <a:effectLst/>
                <a:uLnTx/>
                <a:uFillTx/>
                <a:latin typeface="Corbel"/>
                <a:ea typeface="+mn-lt"/>
                <a:cs typeface="+mn-lt"/>
              </a:rPr>
              <a:t>.</a:t>
            </a:r>
            <a:r>
              <a:rPr lang="en-NL" sz="1600" b="1">
                <a:solidFill>
                  <a:srgbClr val="F96E46"/>
                </a:solidFill>
                <a:latin typeface="Corbel"/>
                <a:ea typeface="+mn-lt"/>
                <a:cs typeface="+mn-lt"/>
              </a:rPr>
              <a:t> </a:t>
            </a: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Je de impact van de Green (</a:t>
            </a:r>
            <a:r>
              <a:rPr kumimoji="0" lang="nl-NL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16161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by</a:t>
            </a: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) IT initiatieven weegt vanuit een </a:t>
            </a:r>
            <a:r>
              <a:rPr kumimoji="0" lang="nl-NL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16161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organisatiebreed</a:t>
            </a: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  <a:ea typeface="+mn-ea"/>
                <a:cs typeface="+mn-cs"/>
              </a:rPr>
              <a:t> perspectief met bijbehorende tijdshorizon</a:t>
            </a:r>
          </a:p>
        </p:txBody>
      </p:sp>
      <p:pic>
        <p:nvPicPr>
          <p:cNvPr id="10" name="Afbeelding 9" descr="Afbeelding met gras, buitenshuis, hemel, persoon&#10;&#10;Automatisch gegenereerde beschrijving">
            <a:extLst>
              <a:ext uri="{FF2B5EF4-FFF2-40B4-BE49-F238E27FC236}">
                <a16:creationId xmlns:a16="http://schemas.microsoft.com/office/drawing/2014/main" id="{9A48501F-2F78-BA88-F1E0-F240C44138E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44697" y="-26937"/>
            <a:ext cx="5368413" cy="6883061"/>
          </a:xfrm>
          <a:prstGeom prst="rect">
            <a:avLst/>
          </a:prstGeom>
        </p:spPr>
      </p:pic>
      <p:sp>
        <p:nvSpPr>
          <p:cNvPr id="11" name="Rechthoek 10">
            <a:extLst>
              <a:ext uri="{FF2B5EF4-FFF2-40B4-BE49-F238E27FC236}">
                <a16:creationId xmlns:a16="http://schemas.microsoft.com/office/drawing/2014/main" id="{DCE2E460-8525-845A-F118-21395E9F2E49}"/>
              </a:ext>
            </a:extLst>
          </p:cNvPr>
          <p:cNvSpPr/>
          <p:nvPr/>
        </p:nvSpPr>
        <p:spPr>
          <a:xfrm>
            <a:off x="7565923" y="0"/>
            <a:ext cx="4626077" cy="6858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1B9650EE-4219-1FE5-903F-C5E7489E05E6}"/>
              </a:ext>
            </a:extLst>
          </p:cNvPr>
          <p:cNvSpPr/>
          <p:nvPr/>
        </p:nvSpPr>
        <p:spPr>
          <a:xfrm>
            <a:off x="7344697" y="-16113"/>
            <a:ext cx="5368413" cy="6858000"/>
          </a:xfrm>
          <a:prstGeom prst="rect">
            <a:avLst/>
          </a:prstGeom>
          <a:solidFill>
            <a:schemeClr val="accent1">
              <a:alpha val="62105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5751704"/>
      </p:ext>
    </p:extLst>
  </p:cSld>
  <p:clrMapOvr>
    <a:masterClrMapping/>
  </p:clrMapOvr>
  <p:transition spd="slow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DA53AC40-75F7-2BE8-4529-242139B17E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wrap="none">
            <a:noAutofit/>
          </a:bodyPr>
          <a:lstStyle/>
          <a:p>
            <a:r>
              <a:rPr lang="nl-NL" dirty="0"/>
              <a:t>MAAK Green (BY) IT onderdeel van de strategi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9379B341-3953-7D17-33FE-E86061169C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9F87CD-0A17-480A-BA0C-CEA734C9A086}" type="slidenum">
              <a:rPr kumimoji="0" lang="nl-NL" sz="900" b="1" i="0" u="none" strike="noStrike" kern="1200" cap="none" spc="0" normalizeH="0" baseline="0" noProof="0" smtClean="0">
                <a:ln>
                  <a:noFill/>
                </a:ln>
                <a:solidFill>
                  <a:srgbClr val="F96E46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nl-NL" sz="900" b="1" i="0" u="none" strike="noStrike" kern="1200" cap="none" spc="0" normalizeH="0" baseline="0" noProof="0" dirty="0">
              <a:ln>
                <a:noFill/>
              </a:ln>
              <a:solidFill>
                <a:srgbClr val="F96E46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B023A75F-9DF3-08D7-E377-733CAAF2C4AC}"/>
              </a:ext>
            </a:extLst>
          </p:cNvPr>
          <p:cNvSpPr txBox="1"/>
          <p:nvPr/>
        </p:nvSpPr>
        <p:spPr>
          <a:xfrm>
            <a:off x="693099" y="1359253"/>
            <a:ext cx="6532307" cy="28007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defTabSz="2286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nl-NL" sz="1600" b="1" dirty="0">
                <a:solidFill>
                  <a:srgbClr val="F96E46"/>
                </a:solidFill>
                <a:latin typeface="Corbel"/>
                <a:ea typeface="+mn-lt"/>
                <a:cs typeface="+mn-lt"/>
              </a:rPr>
              <a:t>GREEN IT MOET LEIDEN TOT WAARDEVOLLE EN VERANTWOORDE BUSINESS OPLOSSINGEN</a:t>
            </a: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l-NL" sz="1600" b="1" dirty="0">
              <a:solidFill>
                <a:schemeClr val="bg2"/>
              </a:solidFill>
              <a:latin typeface="Corbel"/>
              <a:ea typeface="+mn-lt"/>
              <a:cs typeface="+mn-lt"/>
            </a:endParaRP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600" b="0" i="0" u="none" strike="noStrike" kern="1200" cap="none" spc="0" normalizeH="0" baseline="0" noProof="0" dirty="0">
              <a:ln>
                <a:noFill/>
              </a:ln>
              <a:solidFill>
                <a:srgbClr val="616161"/>
              </a:solidFill>
              <a:effectLst/>
              <a:highlight>
                <a:srgbClr val="FFFFFF"/>
              </a:highlight>
              <a:uLnTx/>
              <a:uFillTx/>
              <a:latin typeface="Söhne"/>
            </a:endParaRP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616161"/>
                </a:solidFill>
                <a:effectLst/>
                <a:highlight>
                  <a:srgbClr val="FFFFFF"/>
                </a:highlight>
                <a:uLnTx/>
                <a:uFillTx/>
                <a:latin typeface="Söhne"/>
              </a:rPr>
              <a:t>En dat betekent dat je besluitvorming ook goed moet organiseren:</a:t>
            </a:r>
          </a:p>
          <a:p>
            <a:pPr marL="285750" marR="0" lvl="0" indent="-2857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sz="1600" dirty="0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Wie heeft welk doel?</a:t>
            </a:r>
          </a:p>
          <a:p>
            <a:pPr marL="285750" marR="0" lvl="0" indent="-2857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sz="1600" dirty="0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Op welk niveau mag wat worden beslist?</a:t>
            </a:r>
          </a:p>
          <a:p>
            <a:pPr marL="285750" marR="0" lvl="0" indent="-2857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sz="1600" dirty="0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Hoe verhoudt dit tot andere doelen?</a:t>
            </a:r>
          </a:p>
          <a:p>
            <a:pPr marR="0" lvl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nl-NL" sz="1600" noProof="0" dirty="0">
              <a:solidFill>
                <a:srgbClr val="616161"/>
              </a:solidFill>
              <a:highlight>
                <a:srgbClr val="FFFFFF"/>
              </a:highlight>
              <a:latin typeface="Söhne"/>
            </a:endParaRPr>
          </a:p>
          <a:p>
            <a:pPr marR="0" lvl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nl-NL" sz="1600" b="0" i="0" u="none" strike="noStrike" kern="1200" cap="none" spc="0" normalizeH="0" baseline="0" dirty="0">
              <a:ln>
                <a:noFill/>
              </a:ln>
              <a:solidFill>
                <a:srgbClr val="616161"/>
              </a:solidFill>
              <a:effectLst/>
              <a:highlight>
                <a:srgbClr val="FFFFFF"/>
              </a:highlight>
              <a:uLnTx/>
              <a:uFillTx/>
              <a:latin typeface="Söhne"/>
            </a:endParaRP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600" b="0" i="0" u="none" strike="noStrike" kern="1200" cap="none" spc="0" normalizeH="0" baseline="0" noProof="0" dirty="0">
              <a:ln>
                <a:noFill/>
              </a:ln>
              <a:solidFill>
                <a:srgbClr val="616161"/>
              </a:solidFill>
              <a:effectLst/>
              <a:highlight>
                <a:srgbClr val="FFFFFF"/>
              </a:highlight>
              <a:uLnTx/>
              <a:uFillTx/>
              <a:latin typeface="Söhne"/>
            </a:endParaRP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E6B66CFC-3CEA-6825-1DCB-D96C67D3874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41456269"/>
              </p:ext>
            </p:extLst>
          </p:nvPr>
        </p:nvGraphicFramePr>
        <p:xfrm>
          <a:off x="6221959" y="1490647"/>
          <a:ext cx="6915956" cy="43610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DC422494-3004-53CE-83FE-8B5A58BEE36A}"/>
              </a:ext>
            </a:extLst>
          </p:cNvPr>
          <p:cNvSpPr txBox="1"/>
          <p:nvPr/>
        </p:nvSpPr>
        <p:spPr>
          <a:xfrm>
            <a:off x="8742515" y="5972782"/>
            <a:ext cx="18748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Voorkom tunnelvisie</a:t>
            </a:r>
          </a:p>
        </p:txBody>
      </p:sp>
    </p:spTree>
    <p:extLst>
      <p:ext uri="{BB962C8B-B14F-4D97-AF65-F5344CB8AC3E}">
        <p14:creationId xmlns:p14="http://schemas.microsoft.com/office/powerpoint/2010/main" val="2527617218"/>
      </p:ext>
    </p:extLst>
  </p:cSld>
  <p:clrMapOvr>
    <a:masterClrMapping/>
  </p:clrMapOvr>
  <p:transition spd="slow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:a16="http://schemas.microsoft.com/office/drawing/2014/main" id="{496AF082-97F3-01AA-0E1C-A8248962CC09}"/>
              </a:ext>
            </a:extLst>
          </p:cNvPr>
          <p:cNvSpPr/>
          <p:nvPr/>
        </p:nvSpPr>
        <p:spPr>
          <a:xfrm>
            <a:off x="766237" y="1829323"/>
            <a:ext cx="4631264" cy="4253977"/>
          </a:xfrm>
          <a:prstGeom prst="rect">
            <a:avLst/>
          </a:prstGeom>
          <a:ln>
            <a:solidFill>
              <a:srgbClr val="A3D0E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F5B352AB-F1AC-C433-AB61-8A213BE81F9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78936" y="767788"/>
            <a:ext cx="11376131" cy="703660"/>
          </a:xfrm>
        </p:spPr>
        <p:txBody>
          <a:bodyPr/>
          <a:lstStyle/>
          <a:p>
            <a:pPr marL="0" lvl="0" algn="l" defTabSz="914400" rtl="0" eaLnBrk="1" latinLnBrk="0" hangingPunct="1">
              <a:buNone/>
            </a:pPr>
            <a:r>
              <a:rPr lang="nl-NL" sz="2900" dirty="0">
                <a:latin typeface="Lato Black"/>
                <a:cs typeface="Open Sans"/>
              </a:rPr>
              <a:t>EEN POSITIEVE BUSINESSCASE door de </a:t>
            </a:r>
            <a:r>
              <a:rPr lang="nl-NL" sz="2900" dirty="0" err="1">
                <a:latin typeface="Lato Black"/>
                <a:cs typeface="Open Sans"/>
              </a:rPr>
              <a:t>multicriteria</a:t>
            </a:r>
            <a:r>
              <a:rPr lang="nl-NL" sz="2900" dirty="0">
                <a:latin typeface="Lato Black"/>
                <a:cs typeface="Open Sans"/>
              </a:rPr>
              <a:t> analys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41CA592E-6962-6698-04E6-FFB1D3AAFC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9F87CD-0A17-480A-BA0C-CEA734C9A086}" type="slidenum">
              <a:rPr kumimoji="0" lang="nl-NL" sz="900" b="1" i="0" u="none" strike="noStrike" kern="1200" cap="none" spc="0" normalizeH="0" baseline="0" noProof="0" smtClean="0">
                <a:ln>
                  <a:noFill/>
                </a:ln>
                <a:solidFill>
                  <a:srgbClr val="F96E46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nl-NL" sz="900" b="1" i="0" u="none" strike="noStrike" kern="1200" cap="none" spc="0" normalizeH="0" baseline="0" noProof="0" dirty="0">
              <a:ln>
                <a:noFill/>
              </a:ln>
              <a:solidFill>
                <a:srgbClr val="F96E46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0624FBDC-7CB8-4BE8-E6E4-9419CCBA54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6714515"/>
              </p:ext>
            </p:extLst>
          </p:nvPr>
        </p:nvGraphicFramePr>
        <p:xfrm>
          <a:off x="402752" y="1801648"/>
          <a:ext cx="5409125" cy="44938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4AB1C43A-5E5E-9A21-D771-A3D86CE21A49}"/>
              </a:ext>
            </a:extLst>
          </p:cNvPr>
          <p:cNvSpPr txBox="1"/>
          <p:nvPr/>
        </p:nvSpPr>
        <p:spPr>
          <a:xfrm>
            <a:off x="5923111" y="1878371"/>
            <a:ext cx="5690887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600" b="1" dirty="0">
                <a:solidFill>
                  <a:srgbClr val="F96E46"/>
                </a:solidFill>
                <a:latin typeface="Corbel"/>
                <a:ea typeface="+mn-lt"/>
                <a:cs typeface="+mn-lt"/>
              </a:rPr>
              <a:t>CRITERIA BEPAAL JE GEZAMENLIJK</a:t>
            </a:r>
          </a:p>
          <a:p>
            <a:pPr marL="285750" marR="0" lvl="0" indent="-2857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sz="1600" dirty="0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Verduurzamen is niet het enige dat moet gebeuren</a:t>
            </a:r>
          </a:p>
          <a:p>
            <a:pPr marL="285750" marR="0" lvl="0" indent="-2857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sz="1600" dirty="0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Multicriteria analyse leidt tot een passende effectentoets en kosten-batenanalyse</a:t>
            </a:r>
            <a:endParaRPr kumimoji="0" lang="nl-NL" sz="1600" b="0" i="0" u="none" strike="noStrike" kern="1200" cap="none" spc="0" normalizeH="0" baseline="0" noProof="0" dirty="0">
              <a:ln>
                <a:noFill/>
              </a:ln>
              <a:solidFill>
                <a:srgbClr val="616161"/>
              </a:solidFill>
              <a:effectLst/>
              <a:highlight>
                <a:srgbClr val="FFFFFF"/>
              </a:highlight>
              <a:uLnTx/>
              <a:uFillTx/>
              <a:latin typeface="Söhne"/>
              <a:ea typeface="+mn-ea"/>
              <a:cs typeface="+mn-cs"/>
            </a:endParaRP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l-NL" sz="1600" dirty="0">
              <a:solidFill>
                <a:srgbClr val="616161"/>
              </a:solidFill>
              <a:highlight>
                <a:srgbClr val="FFFFFF"/>
              </a:highlight>
              <a:latin typeface="Söhne"/>
            </a:endParaRPr>
          </a:p>
          <a:p>
            <a:pPr defTabSz="228600">
              <a:defRPr/>
            </a:pPr>
            <a:r>
              <a:rPr lang="nl-NL" sz="1600" b="1" dirty="0">
                <a:solidFill>
                  <a:srgbClr val="F96E46"/>
                </a:solidFill>
                <a:latin typeface="Corbel"/>
                <a:ea typeface="+mn-lt"/>
                <a:cs typeface="+mn-lt"/>
              </a:rPr>
              <a:t>OOK DUURZAAMHEID VRAAGT WENDBAARHEID</a:t>
            </a:r>
          </a:p>
          <a:p>
            <a:pPr marL="285750" indent="-285750" defTabSz="228600">
              <a:buFont typeface="Arial" panose="020B0604020202020204" pitchFamily="34" charset="0"/>
              <a:buChar char="•"/>
              <a:defRPr/>
            </a:pPr>
            <a:r>
              <a:rPr lang="nl-NL" sz="1600" dirty="0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Voorkom bureaucratie </a:t>
            </a:r>
          </a:p>
          <a:p>
            <a:pPr marL="285750" indent="-285750" defTabSz="228600">
              <a:buFont typeface="Arial" panose="020B0604020202020204" pitchFamily="34" charset="0"/>
              <a:buChar char="•"/>
              <a:defRPr/>
            </a:pPr>
            <a:r>
              <a:rPr lang="nl-NL" sz="1600" dirty="0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Focus op kleine waardevolle successen</a:t>
            </a:r>
          </a:p>
          <a:p>
            <a:pPr marL="285750" indent="-285750" defTabSz="228600">
              <a:buFont typeface="Arial" panose="020B0604020202020204" pitchFamily="34" charset="0"/>
              <a:buChar char="•"/>
              <a:defRPr/>
            </a:pPr>
            <a:r>
              <a:rPr lang="nl-NL" sz="1600" dirty="0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Stuur bij op basis van effecten en ontwikkelingen</a:t>
            </a:r>
          </a:p>
          <a:p>
            <a:pPr defTabSz="228600">
              <a:defRPr/>
            </a:pPr>
            <a:endParaRPr lang="nl-NL" sz="1600" dirty="0">
              <a:solidFill>
                <a:srgbClr val="616161"/>
              </a:solidFill>
              <a:highlight>
                <a:srgbClr val="FFFFFF"/>
              </a:highlight>
              <a:latin typeface="Söhne"/>
            </a:endParaRPr>
          </a:p>
          <a:p>
            <a:pPr defTabSz="228600">
              <a:defRPr/>
            </a:pPr>
            <a:endParaRPr kumimoji="0" lang="nl-NL" sz="1600" b="1" i="0" u="none" strike="noStrike" kern="1200" cap="none" spc="0" normalizeH="0" baseline="0" noProof="0" dirty="0">
              <a:ln>
                <a:noFill/>
              </a:ln>
              <a:solidFill>
                <a:srgbClr val="F96E46"/>
              </a:solidFill>
              <a:effectLst/>
              <a:uLnTx/>
              <a:uFillTx/>
              <a:latin typeface="Corbel"/>
              <a:ea typeface="+mn-lt"/>
              <a:cs typeface="+mn-lt"/>
            </a:endParaRP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600" b="0" i="0" u="none" strike="noStrike" kern="1200" cap="none" spc="0" normalizeH="0" baseline="0" noProof="0" dirty="0">
              <a:ln>
                <a:noFill/>
              </a:ln>
              <a:solidFill>
                <a:srgbClr val="616161"/>
              </a:solidFill>
              <a:effectLst/>
              <a:highlight>
                <a:srgbClr val="FFFFFF"/>
              </a:highlight>
              <a:uLnTx/>
              <a:uFillTx/>
              <a:latin typeface="Söhn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4994540"/>
      </p:ext>
    </p:extLst>
  </p:cSld>
  <p:clrMapOvr>
    <a:masterClrMapping/>
  </p:clrMapOvr>
  <p:transition spd="slow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Afbeelding 10" descr="Afbeelding met persoon, computer, overdekt, computer&#10;&#10;Automatisch gegenereerde beschrijving">
            <a:extLst>
              <a:ext uri="{FF2B5EF4-FFF2-40B4-BE49-F238E27FC236}">
                <a16:creationId xmlns:a16="http://schemas.microsoft.com/office/drawing/2014/main" id="{66B967F6-96B4-2D69-B99B-3F7D5303F2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13933" y="1536311"/>
            <a:ext cx="5678067" cy="3785378"/>
          </a:xfrm>
          <a:prstGeom prst="rect">
            <a:avLst/>
          </a:prstGeom>
        </p:spPr>
      </p:pic>
      <p:sp>
        <p:nvSpPr>
          <p:cNvPr id="14" name="Rectangle 6">
            <a:extLst>
              <a:ext uri="{FF2B5EF4-FFF2-40B4-BE49-F238E27FC236}">
                <a16:creationId xmlns:a16="http://schemas.microsoft.com/office/drawing/2014/main" id="{17FE11F2-72FD-9806-D9EE-52A646183C97}"/>
              </a:ext>
            </a:extLst>
          </p:cNvPr>
          <p:cNvSpPr/>
          <p:nvPr/>
        </p:nvSpPr>
        <p:spPr>
          <a:xfrm>
            <a:off x="6513933" y="0"/>
            <a:ext cx="5678067" cy="6858000"/>
          </a:xfrm>
          <a:prstGeom prst="rect">
            <a:avLst/>
          </a:prstGeom>
          <a:solidFill>
            <a:schemeClr val="accent1">
              <a:alpha val="62105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4798B038-47C7-8E3D-B694-CDAB0226C8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l-NL" dirty="0"/>
              <a:t>De weg naar green (</a:t>
            </a:r>
            <a:r>
              <a:rPr lang="nl-NL" dirty="0" err="1"/>
              <a:t>by</a:t>
            </a:r>
            <a:r>
              <a:rPr lang="nl-NL" dirty="0"/>
              <a:t>) IT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2D02972-3124-4DEB-B35D-E5D7D0F357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9F87CD-0A17-480A-BA0C-CEA734C9A086}" type="slidenum">
              <a:rPr kumimoji="0" lang="nl-NL" sz="900" b="1" i="0" u="none" strike="noStrike" kern="1200" cap="none" spc="0" normalizeH="0" baseline="0" noProof="0" smtClean="0">
                <a:ln>
                  <a:noFill/>
                </a:ln>
                <a:solidFill>
                  <a:srgbClr val="F96E46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pPr marL="0" marR="0" lvl="0" indent="0" algn="ct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nl-NL" sz="900" b="1" i="0" u="none" strike="noStrike" kern="1200" cap="none" spc="0" normalizeH="0" baseline="0" noProof="0" dirty="0">
              <a:ln>
                <a:noFill/>
              </a:ln>
              <a:solidFill>
                <a:srgbClr val="F96E46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0439DAF1-ACAB-D72D-D681-89072C43E4A2}"/>
              </a:ext>
            </a:extLst>
          </p:cNvPr>
          <p:cNvSpPr txBox="1"/>
          <p:nvPr/>
        </p:nvSpPr>
        <p:spPr>
          <a:xfrm>
            <a:off x="718499" y="1359253"/>
            <a:ext cx="5123501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1" i="0" u="none" strike="noStrike" kern="1200" cap="none" spc="0" normalizeH="0" baseline="0" noProof="0" dirty="0">
                <a:ln>
                  <a:noFill/>
                </a:ln>
                <a:solidFill>
                  <a:srgbClr val="F96E46"/>
                </a:solidFill>
                <a:effectLst/>
                <a:uLnTx/>
                <a:uFillTx/>
                <a:latin typeface="Corbel"/>
                <a:ea typeface="+mn-lt"/>
                <a:cs typeface="+mn-lt"/>
              </a:rPr>
              <a:t>VAAK IS ER (</a:t>
            </a:r>
            <a:r>
              <a:rPr lang="nl-NL" sz="1600" b="1" dirty="0">
                <a:solidFill>
                  <a:srgbClr val="F96E46"/>
                </a:solidFill>
                <a:latin typeface="Corbel"/>
                <a:ea typeface="+mn-lt"/>
                <a:cs typeface="+mn-lt"/>
              </a:rPr>
              <a:t>NOG) </a:t>
            </a:r>
            <a:r>
              <a:rPr kumimoji="0" lang="nl-NL" sz="1600" b="1" i="0" u="none" strike="noStrike" kern="1200" cap="none" spc="0" normalizeH="0" baseline="0" noProof="0" dirty="0">
                <a:ln>
                  <a:noFill/>
                </a:ln>
                <a:solidFill>
                  <a:srgbClr val="F96E46"/>
                </a:solidFill>
                <a:effectLst/>
                <a:uLnTx/>
                <a:uFillTx/>
                <a:latin typeface="Corbel"/>
                <a:ea typeface="+mn-lt"/>
                <a:cs typeface="+mn-lt"/>
              </a:rPr>
              <a:t>GEEN DIRECTE PRIKKEL VOOR GREEN (BY) IT</a:t>
            </a:r>
          </a:p>
          <a:p>
            <a:pPr marL="285750" marR="0" lvl="0" indent="-2857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sz="1600" dirty="0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Kies voor toekomstbestendige no </a:t>
            </a:r>
            <a:r>
              <a:rPr lang="nl-NL" sz="1600" dirty="0" err="1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regret</a:t>
            </a:r>
            <a:r>
              <a:rPr lang="nl-NL" sz="1600" dirty="0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 maatregelen</a:t>
            </a:r>
          </a:p>
          <a:p>
            <a:pPr marL="285750" marR="0" lvl="0" indent="-2857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NL" sz="1600" dirty="0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Kies Green IT maatregelen vanuit een </a:t>
            </a:r>
            <a:r>
              <a:rPr lang="nl-NL" sz="1600" dirty="0" err="1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organisatiebreed</a:t>
            </a:r>
            <a:r>
              <a:rPr lang="nl-NL" sz="1600" dirty="0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 perspectief</a:t>
            </a:r>
          </a:p>
          <a:p>
            <a:pPr marL="285750" indent="-285750" defTabSz="228600">
              <a:buFont typeface="Arial" panose="020B0604020202020204" pitchFamily="34" charset="0"/>
              <a:buChar char="•"/>
              <a:defRPr/>
            </a:pPr>
            <a:r>
              <a:rPr lang="nl-NL" sz="1600" dirty="0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Maak Green geen exclusief en geen in beton gegoten doel</a:t>
            </a:r>
            <a:endParaRPr kumimoji="0" lang="nl-NL" sz="1600" b="0" i="0" u="none" strike="noStrike" kern="1200" cap="none" spc="0" normalizeH="0" baseline="0" noProof="0" dirty="0">
              <a:ln>
                <a:noFill/>
              </a:ln>
              <a:solidFill>
                <a:srgbClr val="616161"/>
              </a:solidFill>
              <a:effectLst/>
              <a:highlight>
                <a:srgbClr val="FFFFFF"/>
              </a:highlight>
              <a:uLnTx/>
              <a:uFillTx/>
              <a:latin typeface="Söhne"/>
              <a:ea typeface="+mn-ea"/>
              <a:cs typeface="+mn-cs"/>
            </a:endParaRPr>
          </a:p>
          <a:p>
            <a:pPr marL="285750" marR="0" lvl="0" indent="-28575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nl-NL" sz="1600" dirty="0">
              <a:solidFill>
                <a:srgbClr val="616161"/>
              </a:solidFill>
              <a:highlight>
                <a:srgbClr val="FFFFFF"/>
              </a:highlight>
              <a:latin typeface="Söhne"/>
            </a:endParaRP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l-NL" sz="1600" b="1" dirty="0">
              <a:solidFill>
                <a:srgbClr val="F96E46"/>
              </a:solidFill>
              <a:latin typeface="Corbel"/>
              <a:ea typeface="+mn-lt"/>
              <a:cs typeface="+mn-lt"/>
            </a:endParaRP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l-NL" sz="1600" b="1" dirty="0">
              <a:solidFill>
                <a:srgbClr val="F96E46"/>
              </a:solidFill>
              <a:latin typeface="Corbel"/>
              <a:ea typeface="+mn-lt"/>
              <a:cs typeface="+mn-lt"/>
            </a:endParaRP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600" b="1" dirty="0">
                <a:solidFill>
                  <a:srgbClr val="F96E46"/>
                </a:solidFill>
                <a:latin typeface="Corbel"/>
                <a:ea typeface="+mn-lt"/>
                <a:cs typeface="+mn-lt"/>
              </a:rPr>
              <a:t>BEGIN WAAR DE ENERGIE ZIT!</a:t>
            </a:r>
          </a:p>
          <a:p>
            <a:pPr marL="285750" indent="-285750" defTabSz="228600">
              <a:buFont typeface="Arial" panose="020B0604020202020204" pitchFamily="34" charset="0"/>
              <a:buChar char="•"/>
              <a:defRPr/>
            </a:pPr>
            <a:r>
              <a:rPr lang="nl-NL" sz="1600" dirty="0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Kies voor de </a:t>
            </a:r>
            <a:r>
              <a:rPr lang="nl-NL" sz="1600" dirty="0" err="1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non-invasive</a:t>
            </a:r>
            <a:r>
              <a:rPr lang="nl-NL" sz="1600" dirty="0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 aanpak van green (</a:t>
            </a:r>
            <a:r>
              <a:rPr lang="nl-NL" sz="1600" dirty="0" err="1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by</a:t>
            </a:r>
            <a:r>
              <a:rPr lang="nl-NL" sz="1600" dirty="0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) </a:t>
            </a:r>
            <a:r>
              <a:rPr lang="nl-NL" sz="1600" dirty="0" err="1">
                <a:solidFill>
                  <a:srgbClr val="616161"/>
                </a:solidFill>
                <a:highlight>
                  <a:srgbClr val="FFFFFF"/>
                </a:highlight>
                <a:latin typeface="Söhne"/>
              </a:rPr>
              <a:t>it</a:t>
            </a:r>
            <a:endParaRPr lang="nl-NL" sz="1600" dirty="0">
              <a:solidFill>
                <a:srgbClr val="616161"/>
              </a:solidFill>
              <a:highlight>
                <a:srgbClr val="FFFFFF"/>
              </a:highlight>
              <a:latin typeface="Söhne"/>
            </a:endParaRP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l-NL" sz="1600" b="1" dirty="0">
              <a:solidFill>
                <a:srgbClr val="F96E46"/>
              </a:solidFill>
              <a:latin typeface="Corbel"/>
              <a:ea typeface="+mn-lt"/>
              <a:cs typeface="+mn-lt"/>
            </a:endParaRP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600" b="0" i="0" u="none" strike="noStrike" kern="1200" cap="none" spc="0" normalizeH="0" baseline="0" noProof="0" dirty="0">
              <a:ln>
                <a:noFill/>
              </a:ln>
              <a:solidFill>
                <a:srgbClr val="616161"/>
              </a:solidFill>
              <a:effectLst/>
              <a:highlight>
                <a:srgbClr val="FFFFFF"/>
              </a:highlight>
              <a:uLnTx/>
              <a:uFillTx/>
              <a:latin typeface="Söhn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2173965"/>
      </p:ext>
    </p:extLst>
  </p:cSld>
  <p:clrMapOvr>
    <a:masterClrMapping/>
  </p:clrMapOvr>
  <p:transition spd="slow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slides">
  <a:themeElements>
    <a:clrScheme name="Custom 44">
      <a:dk1>
        <a:sysClr val="windowText" lastClr="000000"/>
      </a:dk1>
      <a:lt1>
        <a:sysClr val="window" lastClr="FFFFFF"/>
      </a:lt1>
      <a:dk2>
        <a:srgbClr val="616161"/>
      </a:dk2>
      <a:lt2>
        <a:srgbClr val="0078A3"/>
      </a:lt2>
      <a:accent1>
        <a:srgbClr val="0078A3"/>
      </a:accent1>
      <a:accent2>
        <a:srgbClr val="1D5F93"/>
      </a:accent2>
      <a:accent3>
        <a:srgbClr val="1C0D45"/>
      </a:accent3>
      <a:accent4>
        <a:srgbClr val="616161"/>
      </a:accent4>
      <a:accent5>
        <a:srgbClr val="F96E46"/>
      </a:accent5>
      <a:accent6>
        <a:srgbClr val="5F0F40"/>
      </a:accent6>
      <a:hlink>
        <a:srgbClr val="F96E46"/>
      </a:hlink>
      <a:folHlink>
        <a:srgbClr val="5F0F40"/>
      </a:folHlink>
    </a:clrScheme>
    <a:fontScheme name="Custom 23">
      <a:majorFont>
        <a:latin typeface="Browallia New"/>
        <a:ea typeface=""/>
        <a:cs typeface=""/>
      </a:majorFont>
      <a:minorFont>
        <a:latin typeface="Corbe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Highberg template 22 Nov_ 2022" id="{2FDCEAE5-D628-AF4C-906E-660AF8EF9F4C}" vid="{91A32921-D46F-4642-9ABD-FC52257715F8}"/>
    </a:ext>
  </a:extLst>
</a:theme>
</file>

<file path=ppt/theme/theme2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91F3438B5631F44BE1AD6B1A0848B46" ma:contentTypeVersion="15" ma:contentTypeDescription="Een nieuw document maken." ma:contentTypeScope="" ma:versionID="8d8149e16760ead2c2f4382631887398">
  <xsd:schema xmlns:xsd="http://www.w3.org/2001/XMLSchema" xmlns:xs="http://www.w3.org/2001/XMLSchema" xmlns:p="http://schemas.microsoft.com/office/2006/metadata/properties" xmlns:ns2="fd4b43dc-e565-4e85-8b43-88d30f60ec94" xmlns:ns3="5e9da69e-9e9b-4407-8f90-7085e49adebd" targetNamespace="http://schemas.microsoft.com/office/2006/metadata/properties" ma:root="true" ma:fieldsID="160e588d026d84e2faf54396ef48b25b" ns2:_="" ns3:_="">
    <xsd:import namespace="fd4b43dc-e565-4e85-8b43-88d30f60ec94"/>
    <xsd:import namespace="5e9da69e-9e9b-4407-8f90-7085e49adeb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4b43dc-e565-4e85-8b43-88d30f60ec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Afbeeldingtags" ma:readOnly="false" ma:fieldId="{5cf76f15-5ced-4ddc-b409-7134ff3c332f}" ma:taxonomyMulti="true" ma:sspId="4fcdf52e-46df-449b-b284-70e2acc7bb4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9da69e-9e9b-4407-8f90-7085e49adebd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75affa2-26f4-47d3-aed5-b01025b52fad}" ma:internalName="TaxCatchAll" ma:showField="CatchAllData" ma:web="5e9da69e-9e9b-4407-8f90-7085e49adeb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e9da69e-9e9b-4407-8f90-7085e49adebd" xsi:nil="true"/>
    <lcf76f155ced4ddcb4097134ff3c332f xmlns="fd4b43dc-e565-4e85-8b43-88d30f60ec94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7A51A21B-3F6C-4E86-9607-FBAAAD93FA7D}"/>
</file>

<file path=customXml/itemProps2.xml><?xml version="1.0" encoding="utf-8"?>
<ds:datastoreItem xmlns:ds="http://schemas.openxmlformats.org/officeDocument/2006/customXml" ds:itemID="{84197CF8-3B9D-4645-8AE3-AFD1E0A6F81B}"/>
</file>

<file path=customXml/itemProps3.xml><?xml version="1.0" encoding="utf-8"?>
<ds:datastoreItem xmlns:ds="http://schemas.openxmlformats.org/officeDocument/2006/customXml" ds:itemID="{C3D1FC2C-A326-42F7-B061-BDE3DDC5788A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41</Words>
  <Application>Microsoft Office PowerPoint</Application>
  <PresentationFormat>Breedbeeld</PresentationFormat>
  <Paragraphs>123</Paragraphs>
  <Slides>10</Slides>
  <Notes>9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9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0</vt:i4>
      </vt:variant>
    </vt:vector>
  </HeadingPairs>
  <TitlesOfParts>
    <vt:vector size="21" baseType="lpstr">
      <vt:lpstr>Aptos</vt:lpstr>
      <vt:lpstr>Arial</vt:lpstr>
      <vt:lpstr>Calibri</vt:lpstr>
      <vt:lpstr>Corbel</vt:lpstr>
      <vt:lpstr>Helvetica</vt:lpstr>
      <vt:lpstr>Helvetica Neue</vt:lpstr>
      <vt:lpstr>Lato</vt:lpstr>
      <vt:lpstr>Lato Black</vt:lpstr>
      <vt:lpstr>Söhne</vt:lpstr>
      <vt:lpstr>Title slides</vt:lpstr>
      <vt:lpstr>think-cell Slide</vt:lpstr>
      <vt:lpstr>DE BUSINESSCASE  VAN GREEN (BY) IT</vt:lpstr>
      <vt:lpstr>PowerPoint-presentatie</vt:lpstr>
      <vt:lpstr>PowerPoint-presentatie</vt:lpstr>
      <vt:lpstr>PowerPoint-presentatie</vt:lpstr>
      <vt:lpstr>Stelling: GREEN (BY) IT IS EEN KOSTENPOST VOOR DE CIO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 BUSINESS CASE VAN GREEN (BY) IT</dc:title>
  <dc:creator>Anne van Esch</dc:creator>
  <cp:lastModifiedBy>presentatie</cp:lastModifiedBy>
  <cp:revision>2</cp:revision>
  <dcterms:created xsi:type="dcterms:W3CDTF">2024-05-09T07:36:48Z</dcterms:created>
  <dcterms:modified xsi:type="dcterms:W3CDTF">2024-05-16T12:41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91F3438B5631F44BE1AD6B1A0848B46</vt:lpwstr>
  </property>
</Properties>
</file>